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61" r:id="rId5"/>
    <p:sldMasterId id="2147483702" r:id="rId6"/>
    <p:sldMasterId id="2147483735" r:id="rId7"/>
    <p:sldMasterId id="2147483756" r:id="rId8"/>
  </p:sldMasterIdLst>
  <p:notesMasterIdLst>
    <p:notesMasterId r:id="rId24"/>
  </p:notesMasterIdLst>
  <p:sldIdLst>
    <p:sldId id="473" r:id="rId9"/>
    <p:sldId id="1952" r:id="rId10"/>
    <p:sldId id="1946" r:id="rId11"/>
    <p:sldId id="1947" r:id="rId12"/>
    <p:sldId id="1948" r:id="rId13"/>
    <p:sldId id="1950" r:id="rId14"/>
    <p:sldId id="1603" r:id="rId15"/>
    <p:sldId id="272" r:id="rId16"/>
    <p:sldId id="1967" r:id="rId17"/>
    <p:sldId id="1973" r:id="rId18"/>
    <p:sldId id="1968" r:id="rId19"/>
    <p:sldId id="1969" r:id="rId20"/>
    <p:sldId id="1970" r:id="rId21"/>
    <p:sldId id="1971" r:id="rId22"/>
    <p:sldId id="1972"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E68"/>
    <a:srgbClr val="505050"/>
    <a:srgbClr val="CFD5EA"/>
    <a:srgbClr val="E9EBF5"/>
    <a:srgbClr val="30D666"/>
    <a:srgbClr val="FFFFFF"/>
    <a:srgbClr val="308ACA"/>
    <a:srgbClr val="595959"/>
    <a:srgbClr val="000000"/>
    <a:srgbClr val="D2A457"/>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62D6F4-A056-4A3D-A524-ACEF20E30C54}" v="2025" dt="2019-11-15T21:16:26.855"/>
    <p1510:client id="{D1E097A2-6329-4BAB-A47A-3D62E7E5A703}" v="1" dt="2019-01-24T15:08:25.1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29" autoAdjust="0"/>
    <p:restoredTop sz="90012"/>
  </p:normalViewPr>
  <p:slideViewPr>
    <p:cSldViewPr snapToGrid="0">
      <p:cViewPr varScale="1">
        <p:scale>
          <a:sx n="73" d="100"/>
          <a:sy n="73" d="100"/>
        </p:scale>
        <p:origin x="66" y="12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EF6F7FB3-D3E5-4548-BD1E-B72774CF5B92}">
      <dgm:prSet phldrT="[Text]"/>
      <dgm:spPr/>
      <dgm:t>
        <a:bodyPr/>
        <a:lstStyle/>
        <a:p>
          <a:r>
            <a:rPr lang="en-US" dirty="0"/>
            <a:t>Contract</a:t>
          </a:r>
        </a:p>
      </dgm:t>
    </dgm:pt>
    <dgm:pt modelId="{45730361-F738-1D4E-A3C5-411A94807EC9}" type="parTrans" cxnId="{C926C7C9-D26C-EB45-8190-82A256F827A2}">
      <dgm:prSet/>
      <dgm:spPr/>
      <dgm:t>
        <a:bodyPr/>
        <a:lstStyle/>
        <a:p>
          <a:endParaRPr lang="en-US"/>
        </a:p>
      </dgm:t>
    </dgm:pt>
    <dgm:pt modelId="{3EE142BA-28AD-B148-A13A-EC6787931D89}" type="sibTrans" cxnId="{C926C7C9-D26C-EB45-8190-82A256F827A2}">
      <dgm:prSet/>
      <dgm:spPr/>
      <dgm:t>
        <a:bodyPr/>
        <a:lstStyle/>
        <a:p>
          <a:endParaRPr lang="en-US"/>
        </a:p>
      </dgm:t>
    </dgm:pt>
    <dgm:pt modelId="{2FB6C851-BFD2-3B40-A74C-E0990FBE416A}">
      <dgm:prSet phldrT="[Text]"/>
      <dgm:spPr/>
      <dgm:t>
        <a:bodyPr/>
        <a:lstStyle/>
        <a:p>
          <a:r>
            <a:rPr lang="en-US" dirty="0"/>
            <a:t>State Variables</a:t>
          </a:r>
        </a:p>
      </dgm:t>
    </dgm:pt>
    <dgm:pt modelId="{69ED7902-97D8-9649-A75F-28025A394F19}" type="parTrans" cxnId="{4E5E23AE-F847-F245-B4D9-A1C962CFFF26}">
      <dgm:prSet/>
      <dgm:spPr/>
      <dgm:t>
        <a:bodyPr/>
        <a:lstStyle/>
        <a:p>
          <a:endParaRPr lang="en-US"/>
        </a:p>
      </dgm:t>
    </dgm:pt>
    <dgm:pt modelId="{D8C50E35-3552-B448-B86F-D91AA94E1D78}" type="sibTrans" cxnId="{4E5E23AE-F847-F245-B4D9-A1C962CFFF26}">
      <dgm:prSet/>
      <dgm:spPr/>
      <dgm:t>
        <a:bodyPr/>
        <a:lstStyle/>
        <a:p>
          <a:endParaRPr lang="en-US"/>
        </a:p>
      </dgm:t>
    </dgm:pt>
    <dgm:pt modelId="{7F9CA40A-FB21-EB4C-90CE-2B1CFA54D562}">
      <dgm:prSet phldrT="[Text]" custT="1"/>
      <dgm:spPr/>
      <dgm:t>
        <a:bodyPr/>
        <a:lstStyle/>
        <a:p>
          <a:r>
            <a:rPr lang="en-US" sz="1200" dirty="0"/>
            <a:t>State variables store values of the state for each contract instance</a:t>
          </a:r>
          <a:br>
            <a:rPr lang="en-US" sz="1200" dirty="0"/>
          </a:br>
          <a:endParaRPr lang="en-US" sz="1200" dirty="0"/>
        </a:p>
      </dgm:t>
    </dgm:pt>
    <dgm:pt modelId="{FB56CC65-3174-5942-901F-78F5D60CB511}" type="parTrans" cxnId="{D927760D-AA96-5046-B45C-31EC7286B247}">
      <dgm:prSet/>
      <dgm:spPr/>
      <dgm:t>
        <a:bodyPr/>
        <a:lstStyle/>
        <a:p>
          <a:endParaRPr lang="en-US"/>
        </a:p>
      </dgm:t>
    </dgm:pt>
    <dgm:pt modelId="{26F71CCA-6513-B64B-9C8D-920A4BD6E55C}" type="sibTrans" cxnId="{D927760D-AA96-5046-B45C-31EC7286B247}">
      <dgm:prSet/>
      <dgm:spPr/>
      <dgm:t>
        <a:bodyPr/>
        <a:lstStyle/>
        <a:p>
          <a:endParaRPr lang="en-US"/>
        </a:p>
      </dgm:t>
    </dgm:pt>
    <dgm:pt modelId="{EAA399BC-9721-B743-908A-4746BA10215A}">
      <dgm:prSet phldrT="[Text]"/>
      <dgm:spPr/>
      <dgm:t>
        <a:bodyPr/>
        <a:lstStyle/>
        <a:p>
          <a:r>
            <a:rPr lang="en-US" dirty="0"/>
            <a:t>Constructor</a:t>
          </a:r>
        </a:p>
      </dgm:t>
    </dgm:pt>
    <dgm:pt modelId="{9D19C632-3919-DE45-880A-E2AD016F0B25}" type="parTrans" cxnId="{214AEC25-2A3B-1A43-B0C9-5CECC3A466F0}">
      <dgm:prSet/>
      <dgm:spPr/>
      <dgm:t>
        <a:bodyPr/>
        <a:lstStyle/>
        <a:p>
          <a:endParaRPr lang="en-US"/>
        </a:p>
      </dgm:t>
    </dgm:pt>
    <dgm:pt modelId="{68227547-BC39-C347-B8C5-E1BC84A76011}" type="sibTrans" cxnId="{214AEC25-2A3B-1A43-B0C9-5CECC3A466F0}">
      <dgm:prSet/>
      <dgm:spPr/>
      <dgm:t>
        <a:bodyPr/>
        <a:lstStyle/>
        <a:p>
          <a:endParaRPr lang="en-US"/>
        </a:p>
      </dgm:t>
    </dgm:pt>
    <dgm:pt modelId="{FDF5CD54-EA25-3942-956C-82E1908345B4}">
      <dgm:prSet phldrT="[Text]" custT="1"/>
      <dgm:spPr/>
      <dgm:t>
        <a:bodyPr/>
        <a:lstStyle/>
        <a:p>
          <a:r>
            <a:rPr lang="en-US" sz="1200" dirty="0"/>
            <a:t>The constructor defines input parameters for a new smart contract instance of a workflow</a:t>
          </a:r>
        </a:p>
      </dgm:t>
    </dgm:pt>
    <dgm:pt modelId="{59CBB45F-ADCE-0B42-BA75-814208F7085B}" type="parTrans" cxnId="{B02B8213-A404-DF45-8319-3BC5C40E389E}">
      <dgm:prSet/>
      <dgm:spPr/>
      <dgm:t>
        <a:bodyPr/>
        <a:lstStyle/>
        <a:p>
          <a:endParaRPr lang="en-US"/>
        </a:p>
      </dgm:t>
    </dgm:pt>
    <dgm:pt modelId="{2F47B318-1ACE-5C49-A4AA-991153F8B598}" type="sibTrans" cxnId="{B02B8213-A404-DF45-8319-3BC5C40E389E}">
      <dgm:prSet/>
      <dgm:spPr/>
      <dgm:t>
        <a:bodyPr/>
        <a:lstStyle/>
        <a:p>
          <a:endParaRPr lang="en-US"/>
        </a:p>
      </dgm:t>
    </dgm:pt>
    <dgm:pt modelId="{4AC71D21-1492-3348-B7A6-5C2BCBD902D5}">
      <dgm:prSet phldrT="[Text]"/>
      <dgm:spPr/>
      <dgm:t>
        <a:bodyPr/>
        <a:lstStyle/>
        <a:p>
          <a:r>
            <a:rPr lang="en-US" dirty="0"/>
            <a:t>Functions</a:t>
          </a:r>
        </a:p>
      </dgm:t>
    </dgm:pt>
    <dgm:pt modelId="{9402E8AD-84FA-DD4F-859F-CDEB1436E7F3}" type="parTrans" cxnId="{E8F1C6E3-BD50-2E47-B102-7401C727B357}">
      <dgm:prSet/>
      <dgm:spPr/>
      <dgm:t>
        <a:bodyPr/>
        <a:lstStyle/>
        <a:p>
          <a:endParaRPr lang="en-US"/>
        </a:p>
      </dgm:t>
    </dgm:pt>
    <dgm:pt modelId="{EBA507D5-0C59-254B-A7F5-1D1427C5D840}" type="sibTrans" cxnId="{E8F1C6E3-BD50-2E47-B102-7401C727B357}">
      <dgm:prSet/>
      <dgm:spPr/>
      <dgm:t>
        <a:bodyPr/>
        <a:lstStyle/>
        <a:p>
          <a:endParaRPr lang="en-US"/>
        </a:p>
      </dgm:t>
    </dgm:pt>
    <dgm:pt modelId="{3449CA0B-085B-7749-B88D-B2F1CBAE4B99}">
      <dgm:prSet phldrT="[Text]" custT="1"/>
      <dgm:spPr/>
      <dgm:t>
        <a:bodyPr/>
        <a:lstStyle/>
        <a:p>
          <a:r>
            <a:rPr lang="en-US" sz="1200" b="0" i="0" u="none" dirty="0"/>
            <a:t>Functions are the executable units of business logic within a contract</a:t>
          </a:r>
          <a:br>
            <a:rPr lang="en-US" sz="1200" b="0" i="0" u="none" dirty="0"/>
          </a:br>
          <a:r>
            <a:rPr lang="en-US" sz="1200" b="0" i="0" u="none" dirty="0"/>
            <a:t> </a:t>
          </a:r>
          <a:endParaRPr lang="en-US" sz="1200" dirty="0"/>
        </a:p>
      </dgm:t>
    </dgm:pt>
    <dgm:pt modelId="{1C43AD30-7FC0-564B-A766-2458DF2E69E0}" type="parTrans" cxnId="{89DFD65B-02ED-4448-B722-A3F5F8E11187}">
      <dgm:prSet/>
      <dgm:spPr/>
      <dgm:t>
        <a:bodyPr/>
        <a:lstStyle/>
        <a:p>
          <a:endParaRPr lang="en-US"/>
        </a:p>
      </dgm:t>
    </dgm:pt>
    <dgm:pt modelId="{A09686E9-C949-9F4F-9A90-14AE7F054DF9}" type="sibTrans" cxnId="{89DFD65B-02ED-4448-B722-A3F5F8E11187}">
      <dgm:prSet/>
      <dgm:spPr/>
      <dgm:t>
        <a:bodyPr/>
        <a:lstStyle/>
        <a:p>
          <a:endParaRPr lang="en-US"/>
        </a:p>
      </dgm:t>
    </dgm:pt>
    <dgm:pt modelId="{00915C91-2BAC-CB44-9FA5-FC2883C261E5}">
      <dgm:prSet custT="1"/>
      <dgm:spPr/>
      <dgm:t>
        <a:bodyPr/>
        <a:lstStyle/>
        <a:p>
          <a:r>
            <a:rPr lang="en-US" sz="1200" dirty="0"/>
            <a:t>Pass the application name and the workflow name as arguments</a:t>
          </a:r>
        </a:p>
      </dgm:t>
    </dgm:pt>
    <dgm:pt modelId="{3659585A-5D96-424C-8A2E-8A3687C2367C}" type="parTrans" cxnId="{B000F4D1-9727-D546-B993-80AA1812FC0B}">
      <dgm:prSet/>
      <dgm:spPr/>
      <dgm:t>
        <a:bodyPr/>
        <a:lstStyle/>
        <a:p>
          <a:endParaRPr lang="en-US"/>
        </a:p>
      </dgm:t>
    </dgm:pt>
    <dgm:pt modelId="{2270BCC6-9E2B-4C4C-BCD4-A223C629D2A8}" type="sibTrans" cxnId="{B000F4D1-9727-D546-B993-80AA1812FC0B}">
      <dgm:prSet/>
      <dgm:spPr/>
      <dgm:t>
        <a:bodyPr/>
        <a:lstStyle/>
        <a:p>
          <a:endParaRPr lang="en-US"/>
        </a:p>
      </dgm:t>
    </dgm:pt>
    <dgm:pt modelId="{EE74E1FD-36DB-DD46-BF13-76B65F0AC30D}">
      <dgm:prSet custT="1"/>
      <dgm:spPr/>
      <dgm:t>
        <a:bodyPr/>
        <a:lstStyle/>
        <a:p>
          <a:endParaRPr lang="en-US" sz="1200" dirty="0"/>
        </a:p>
      </dgm:t>
    </dgm:pt>
    <dgm:pt modelId="{281854AB-1940-9640-91D9-010541892070}" type="parTrans" cxnId="{79767784-D30B-D644-AC3B-EA55D508888D}">
      <dgm:prSet/>
      <dgm:spPr/>
      <dgm:t>
        <a:bodyPr/>
        <a:lstStyle/>
        <a:p>
          <a:endParaRPr lang="en-US"/>
        </a:p>
      </dgm:t>
    </dgm:pt>
    <dgm:pt modelId="{F5279980-9FF2-C045-884E-BE776457C196}" type="sibTrans" cxnId="{79767784-D30B-D644-AC3B-EA55D508888D}">
      <dgm:prSet/>
      <dgm:spPr/>
      <dgm:t>
        <a:bodyPr/>
        <a:lstStyle/>
        <a:p>
          <a:endParaRPr lang="en-US"/>
        </a:p>
      </dgm:t>
    </dgm:pt>
    <dgm:pt modelId="{6117F474-1AD4-E141-93EE-43518BA761D0}">
      <dgm:prSet custT="1"/>
      <dgm:spPr/>
      <dgm:t>
        <a:bodyPr/>
        <a:lstStyle/>
        <a:p>
          <a:r>
            <a:rPr lang="en-US" sz="1200" dirty="0"/>
            <a:t>1:1 relationship between contracts and config files </a:t>
          </a:r>
        </a:p>
      </dgm:t>
    </dgm:pt>
    <dgm:pt modelId="{154DB7A4-8083-F649-91AF-57B30B11431B}" type="parTrans" cxnId="{7FD947A6-3EB1-AC4C-A596-D83DB505DDC2}">
      <dgm:prSet/>
      <dgm:spPr/>
      <dgm:t>
        <a:bodyPr/>
        <a:lstStyle/>
        <a:p>
          <a:endParaRPr lang="en-US"/>
        </a:p>
      </dgm:t>
    </dgm:pt>
    <dgm:pt modelId="{53EB06E2-B7B4-B24B-8369-1DCCB801E6BD}" type="sibTrans" cxnId="{7FD947A6-3EB1-AC4C-A596-D83DB505DDC2}">
      <dgm:prSet/>
      <dgm:spPr/>
      <dgm:t>
        <a:bodyPr/>
        <a:lstStyle/>
        <a:p>
          <a:endParaRPr lang="en-US"/>
        </a:p>
      </dgm:t>
    </dgm:pt>
    <dgm:pt modelId="{E307C5A6-904E-1343-979E-725A9F8FF469}">
      <dgm:prSet custT="1"/>
      <dgm:spPr/>
      <dgm:t>
        <a:bodyPr/>
        <a:lstStyle/>
        <a:p>
          <a:endParaRPr lang="en-US" sz="1200" dirty="0"/>
        </a:p>
      </dgm:t>
    </dgm:pt>
    <dgm:pt modelId="{E69A362D-31C4-5643-9D0E-649F4C0B00CF}" type="parTrans" cxnId="{BF1AB288-267C-5A47-9DEF-EC0E1448C889}">
      <dgm:prSet/>
      <dgm:spPr/>
      <dgm:t>
        <a:bodyPr/>
        <a:lstStyle/>
        <a:p>
          <a:endParaRPr lang="en-US"/>
        </a:p>
      </dgm:t>
    </dgm:pt>
    <dgm:pt modelId="{44B053BC-D2FA-7741-B6F2-E2D2781B7CC5}" type="sibTrans" cxnId="{BF1AB288-267C-5A47-9DEF-EC0E1448C889}">
      <dgm:prSet/>
      <dgm:spPr/>
      <dgm:t>
        <a:bodyPr/>
        <a:lstStyle/>
        <a:p>
          <a:endParaRPr lang="en-US"/>
        </a:p>
      </dgm:t>
    </dgm:pt>
    <dgm:pt modelId="{0B5810C7-3373-0940-9DA0-77F9BAD20039}">
      <dgm:prSet custT="1"/>
      <dgm:spPr/>
      <dgm:t>
        <a:bodyPr/>
        <a:lstStyle/>
        <a:p>
          <a:r>
            <a:rPr lang="en-US" sz="1200" dirty="0"/>
            <a:t>Name matching required</a:t>
          </a:r>
        </a:p>
      </dgm:t>
    </dgm:pt>
    <dgm:pt modelId="{1074E96E-3C25-BF41-BE46-317BB44DD0E1}" type="parTrans" cxnId="{FD0B1200-53D5-5D44-863A-887D476A292F}">
      <dgm:prSet/>
      <dgm:spPr/>
      <dgm:t>
        <a:bodyPr/>
        <a:lstStyle/>
        <a:p>
          <a:endParaRPr lang="en-US"/>
        </a:p>
      </dgm:t>
    </dgm:pt>
    <dgm:pt modelId="{E977F061-804B-5244-A884-6E2795799812}" type="sibTrans" cxnId="{FD0B1200-53D5-5D44-863A-887D476A292F}">
      <dgm:prSet/>
      <dgm:spPr/>
      <dgm:t>
        <a:bodyPr/>
        <a:lstStyle/>
        <a:p>
          <a:endParaRPr lang="en-US"/>
        </a:p>
      </dgm:t>
    </dgm:pt>
    <dgm:pt modelId="{CECDF376-691C-C44B-B0DD-0F70BA2E24CB}">
      <dgm:prSet custT="1"/>
      <dgm:spPr/>
      <dgm:t>
        <a:bodyPr/>
        <a:lstStyle/>
        <a:p>
          <a:endParaRPr lang="en-US" sz="1400" dirty="0"/>
        </a:p>
      </dgm:t>
    </dgm:pt>
    <dgm:pt modelId="{CE7163BD-01C1-9A4E-B5E0-B56A9F744374}" type="parTrans" cxnId="{91A6E0E6-C0B4-5744-BE8E-5F1810902007}">
      <dgm:prSet/>
      <dgm:spPr/>
      <dgm:t>
        <a:bodyPr/>
        <a:lstStyle/>
        <a:p>
          <a:endParaRPr lang="en-US"/>
        </a:p>
      </dgm:t>
    </dgm:pt>
    <dgm:pt modelId="{8E30113C-80AA-8645-A0A3-DB636CFE456E}" type="sibTrans" cxnId="{91A6E0E6-C0B4-5744-BE8E-5F1810902007}">
      <dgm:prSet/>
      <dgm:spPr/>
      <dgm:t>
        <a:bodyPr/>
        <a:lstStyle/>
        <a:p>
          <a:endParaRPr lang="en-US"/>
        </a:p>
      </dgm:t>
    </dgm:pt>
    <dgm:pt modelId="{B91B23CD-F7DF-CF4C-AA96-C5AE11072FEB}">
      <dgm:prSet custT="1"/>
      <dgm:spPr/>
      <dgm:t>
        <a:bodyPr/>
        <a:lstStyle/>
        <a:p>
          <a:endParaRPr lang="en-US" sz="1400" dirty="0"/>
        </a:p>
      </dgm:t>
    </dgm:pt>
    <dgm:pt modelId="{47E11246-F866-CA4C-81FD-1C2892219D62}" type="parTrans" cxnId="{0D77FE37-D743-DC44-B5FE-CAF38B913D00}">
      <dgm:prSet/>
      <dgm:spPr/>
      <dgm:t>
        <a:bodyPr/>
        <a:lstStyle/>
        <a:p>
          <a:endParaRPr lang="en-US"/>
        </a:p>
      </dgm:t>
    </dgm:pt>
    <dgm:pt modelId="{E794840E-11F5-7446-B800-5B716BED825D}" type="sibTrans" cxnId="{0D77FE37-D743-DC44-B5FE-CAF38B913D00}">
      <dgm:prSet/>
      <dgm:spPr/>
      <dgm:t>
        <a:bodyPr/>
        <a:lstStyle/>
        <a:p>
          <a:endParaRPr lang="en-US"/>
        </a:p>
      </dgm:t>
    </dgm:pt>
    <dgm:pt modelId="{EC49F6C6-D997-084C-8612-2D46DD5A7176}">
      <dgm:prSet phldrT="[Text]" custT="1"/>
      <dgm:spPr/>
      <dgm:t>
        <a:bodyPr/>
        <a:lstStyle/>
        <a:p>
          <a:r>
            <a:rPr lang="en-US" sz="1200" dirty="0"/>
            <a:t>The state variables in your contract must match the workflow properties defined in the configuration file</a:t>
          </a:r>
        </a:p>
      </dgm:t>
    </dgm:pt>
    <dgm:pt modelId="{C75998B6-BE82-E547-ACB4-638FA3460B92}" type="parTrans" cxnId="{41850427-EEDF-5045-A5A3-CC02A5213458}">
      <dgm:prSet/>
      <dgm:spPr/>
      <dgm:t>
        <a:bodyPr/>
        <a:lstStyle/>
        <a:p>
          <a:endParaRPr lang="en-US"/>
        </a:p>
      </dgm:t>
    </dgm:pt>
    <dgm:pt modelId="{04738DDB-438E-1046-A266-A7B39AB944D1}" type="sibTrans" cxnId="{41850427-EEDF-5045-A5A3-CC02A5213458}">
      <dgm:prSet/>
      <dgm:spPr/>
      <dgm:t>
        <a:bodyPr/>
        <a:lstStyle/>
        <a:p>
          <a:endParaRPr lang="en-US"/>
        </a:p>
      </dgm:t>
    </dgm:pt>
    <dgm:pt modelId="{E60FA42F-2092-AC4D-B4C3-16BD20080929}">
      <dgm:prSet phldrT="[Text]" custT="1"/>
      <dgm:spPr/>
      <dgm:t>
        <a:bodyPr/>
        <a:lstStyle/>
        <a:p>
          <a:r>
            <a:rPr lang="en-US" sz="1200" dirty="0"/>
            <a:t>The constructor is declared as a function with the same name as the contract</a:t>
          </a:r>
        </a:p>
      </dgm:t>
    </dgm:pt>
    <dgm:pt modelId="{1150579C-4A8E-F44A-88B2-202B8B0F39B7}" type="parTrans" cxnId="{2CD8ACE9-31C3-BD47-9AC6-6CBEBC9A60F5}">
      <dgm:prSet/>
      <dgm:spPr/>
      <dgm:t>
        <a:bodyPr/>
        <a:lstStyle/>
        <a:p>
          <a:endParaRPr lang="en-US"/>
        </a:p>
      </dgm:t>
    </dgm:pt>
    <dgm:pt modelId="{D9D76843-11A8-994C-B312-F6DE1F70CC86}" type="sibTrans" cxnId="{2CD8ACE9-31C3-BD47-9AC6-6CBEBC9A60F5}">
      <dgm:prSet/>
      <dgm:spPr/>
      <dgm:t>
        <a:bodyPr/>
        <a:lstStyle/>
        <a:p>
          <a:endParaRPr lang="en-US"/>
        </a:p>
      </dgm:t>
    </dgm:pt>
    <dgm:pt modelId="{96D68090-243F-3A41-A3C1-758EE278E71A}">
      <dgm:prSet phldrT="[Text]" custT="1"/>
      <dgm:spPr/>
      <dgm:t>
        <a:bodyPr/>
        <a:lstStyle/>
        <a:p>
          <a:r>
            <a:rPr lang="en-US" sz="1200" dirty="0"/>
            <a:t>Required parameters for the constructor are defined as constructor parameters in the configuration file </a:t>
          </a:r>
        </a:p>
      </dgm:t>
    </dgm:pt>
    <dgm:pt modelId="{341B4FDE-85BA-E54D-8A5C-5ABCAFC85046}" type="parTrans" cxnId="{40E76544-6820-4443-B91A-689EEAB9E5D0}">
      <dgm:prSet/>
      <dgm:spPr/>
      <dgm:t>
        <a:bodyPr/>
        <a:lstStyle/>
        <a:p>
          <a:endParaRPr lang="en-US"/>
        </a:p>
      </dgm:t>
    </dgm:pt>
    <dgm:pt modelId="{595B3F28-7CF7-094A-B06B-18FAD0834E66}" type="sibTrans" cxnId="{40E76544-6820-4443-B91A-689EEAB9E5D0}">
      <dgm:prSet/>
      <dgm:spPr/>
      <dgm:t>
        <a:bodyPr/>
        <a:lstStyle/>
        <a:p>
          <a:endParaRPr lang="en-US"/>
        </a:p>
      </dgm:t>
    </dgm:pt>
    <dgm:pt modelId="{AA7AC6F9-EA5C-C24F-9AA7-367614229CE5}">
      <dgm:prSet phldrT="[Text]" custT="1"/>
      <dgm:spPr/>
      <dgm:t>
        <a:bodyPr/>
        <a:lstStyle/>
        <a:p>
          <a:r>
            <a:rPr lang="en-US" sz="1200" dirty="0"/>
            <a:t>The number, order, and type of parameters must match in both files.</a:t>
          </a:r>
        </a:p>
      </dgm:t>
    </dgm:pt>
    <dgm:pt modelId="{503DE381-F5D2-B54F-AB4A-42323F6A79F3}" type="parTrans" cxnId="{30B2A289-85C8-5C44-B639-DEB87A3D4C3E}">
      <dgm:prSet/>
      <dgm:spPr/>
      <dgm:t>
        <a:bodyPr/>
        <a:lstStyle/>
        <a:p>
          <a:endParaRPr lang="en-US"/>
        </a:p>
      </dgm:t>
    </dgm:pt>
    <dgm:pt modelId="{208FA664-611E-7E43-9E53-988972A2FAAB}" type="sibTrans" cxnId="{30B2A289-85C8-5C44-B639-DEB87A3D4C3E}">
      <dgm:prSet/>
      <dgm:spPr/>
      <dgm:t>
        <a:bodyPr/>
        <a:lstStyle/>
        <a:p>
          <a:endParaRPr lang="en-US"/>
        </a:p>
      </dgm:t>
    </dgm:pt>
    <dgm:pt modelId="{75170E8D-BC1B-D740-BEB0-FD19E339036A}">
      <dgm:prSet phldrT="[Text]" custT="1"/>
      <dgm:spPr/>
      <dgm:t>
        <a:bodyPr/>
        <a:lstStyle/>
        <a:p>
          <a:r>
            <a:rPr lang="en-US" sz="1200" b="0" i="0" u="none" dirty="0"/>
            <a:t>Required parameters for the function are defined as function parameters in the configuration file</a:t>
          </a:r>
          <a:br>
            <a:rPr lang="en-US" sz="1200" b="0" i="0" u="none" dirty="0"/>
          </a:br>
          <a:r>
            <a:rPr lang="en-US" sz="1200" b="0" i="0" u="none" dirty="0"/>
            <a:t> </a:t>
          </a:r>
          <a:endParaRPr lang="en-US" sz="1200" dirty="0"/>
        </a:p>
      </dgm:t>
    </dgm:pt>
    <dgm:pt modelId="{CDB5A14D-D835-F942-8CBC-0983290E734F}" type="parTrans" cxnId="{82FB535A-B384-8B4E-B549-00AF85EA9E40}">
      <dgm:prSet/>
      <dgm:spPr/>
      <dgm:t>
        <a:bodyPr/>
        <a:lstStyle/>
        <a:p>
          <a:endParaRPr lang="en-US"/>
        </a:p>
      </dgm:t>
    </dgm:pt>
    <dgm:pt modelId="{1C8594DC-7863-894A-AB3A-3C29378DA5DA}" type="sibTrans" cxnId="{82FB535A-B384-8B4E-B549-00AF85EA9E40}">
      <dgm:prSet/>
      <dgm:spPr/>
      <dgm:t>
        <a:bodyPr/>
        <a:lstStyle/>
        <a:p>
          <a:endParaRPr lang="en-US"/>
        </a:p>
      </dgm:t>
    </dgm:pt>
    <dgm:pt modelId="{1B5B7AFB-57D0-C24C-A786-43096A5AC225}">
      <dgm:prSet phldrT="[Text]" custT="1"/>
      <dgm:spPr/>
      <dgm:t>
        <a:bodyPr/>
        <a:lstStyle/>
        <a:p>
          <a:r>
            <a:rPr lang="en-US" sz="1200" b="0" i="0" u="none" dirty="0"/>
            <a:t>The number, order, and type of parameters must match in both files. </a:t>
          </a:r>
          <a:endParaRPr lang="en-US" sz="1200" dirty="0"/>
        </a:p>
      </dgm:t>
    </dgm:pt>
    <dgm:pt modelId="{32186EC6-F23F-5E4C-B07A-FA236FDEBBB8}" type="parTrans" cxnId="{8634D0B5-E374-B24C-84F7-AA700BBFCA41}">
      <dgm:prSet/>
      <dgm:spPr/>
      <dgm:t>
        <a:bodyPr/>
        <a:lstStyle/>
        <a:p>
          <a:endParaRPr lang="en-US"/>
        </a:p>
      </dgm:t>
    </dgm:pt>
    <dgm:pt modelId="{5440F09A-A7D1-C148-BC9C-43BB1414766E}" type="sibTrans" cxnId="{8634D0B5-E374-B24C-84F7-AA700BBFCA41}">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0" presStyleCnt="4">
        <dgm:presLayoutVars>
          <dgm:chMax val="0"/>
          <dgm:chPref val="0"/>
          <dgm:bulletEnabled val="1"/>
        </dgm:presLayoutVars>
      </dgm:prSet>
      <dgm:spPr/>
    </dgm:pt>
    <dgm:pt modelId="{F4029437-CD94-9243-A4E6-230F610E13A7}" type="pres">
      <dgm:prSet presAssocID="{EF6F7FB3-D3E5-4548-BD1E-B72774CF5B92}" presName="desTx" presStyleLbl="alignAccFollowNode1" presStyleIdx="0" presStyleCnt="4">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1" presStyleCnt="4">
        <dgm:presLayoutVars>
          <dgm:chMax val="0"/>
          <dgm:chPref val="0"/>
          <dgm:bulletEnabled val="1"/>
        </dgm:presLayoutVars>
      </dgm:prSet>
      <dgm:spPr/>
    </dgm:pt>
    <dgm:pt modelId="{7186DE0A-A468-F844-8F3D-BC4EBCFEBA62}" type="pres">
      <dgm:prSet presAssocID="{2FB6C851-BFD2-3B40-A74C-E0990FBE416A}" presName="desTx" presStyleLbl="alignAccFollowNode1" presStyleIdx="1" presStyleCnt="4">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2" presStyleCnt="4">
        <dgm:presLayoutVars>
          <dgm:chMax val="0"/>
          <dgm:chPref val="0"/>
          <dgm:bulletEnabled val="1"/>
        </dgm:presLayoutVars>
      </dgm:prSet>
      <dgm:spPr/>
    </dgm:pt>
    <dgm:pt modelId="{2564D77F-41EC-7E4A-A245-9110782AA240}" type="pres">
      <dgm:prSet presAssocID="{EAA399BC-9721-B743-908A-4746BA10215A}" presName="desTx" presStyleLbl="alignAccFollowNode1" presStyleIdx="2" presStyleCnt="4">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3" presStyleCnt="4">
        <dgm:presLayoutVars>
          <dgm:chMax val="0"/>
          <dgm:chPref val="0"/>
          <dgm:bulletEnabled val="1"/>
        </dgm:presLayoutVars>
      </dgm:prSet>
      <dgm:spPr/>
    </dgm:pt>
    <dgm:pt modelId="{FDEEE735-727B-4C43-89AB-134B242C80FB}" type="pres">
      <dgm:prSet presAssocID="{4AC71D21-1492-3348-B7A6-5C2BCBD902D5}" presName="desTx" presStyleLbl="alignAccFollowNode1" presStyleIdx="3" presStyleCnt="4">
        <dgm:presLayoutVars>
          <dgm:bulletEnabled val="1"/>
        </dgm:presLayoutVars>
      </dgm:prSet>
      <dgm:spPr/>
    </dgm:pt>
  </dgm:ptLst>
  <dgm:cxnLst>
    <dgm:cxn modelId="{FD0B1200-53D5-5D44-863A-887D476A292F}" srcId="{EF6F7FB3-D3E5-4548-BD1E-B72774CF5B92}" destId="{0B5810C7-3373-0940-9DA0-77F9BAD20039}" srcOrd="4" destOrd="0" parTransId="{1074E96E-3C25-BF41-BE46-317BB44DD0E1}" sibTransId="{E977F061-804B-5244-A884-6E2795799812}"/>
    <dgm:cxn modelId="{5FDCB007-511C-44C0-A8EE-81330A0F227B}" type="presOf" srcId="{0B5810C7-3373-0940-9DA0-77F9BAD20039}" destId="{F4029437-CD94-9243-A4E6-230F610E13A7}" srcOrd="0" destOrd="4" presId="urn:microsoft.com/office/officeart/2005/8/layout/hList1"/>
    <dgm:cxn modelId="{D927760D-AA96-5046-B45C-31EC7286B247}" srcId="{2FB6C851-BFD2-3B40-A74C-E0990FBE416A}" destId="{7F9CA40A-FB21-EB4C-90CE-2B1CFA54D562}" srcOrd="0" destOrd="0" parTransId="{FB56CC65-3174-5942-901F-78F5D60CB511}" sibTransId="{26F71CCA-6513-B64B-9C8D-920A4BD6E55C}"/>
    <dgm:cxn modelId="{069C8F0D-F3BA-4943-8BAC-4651AD899232}" type="presOf" srcId="{B91B23CD-F7DF-CF4C-AA96-C5AE11072FEB}" destId="{F4029437-CD94-9243-A4E6-230F610E13A7}" srcOrd="0" destOrd="6" presId="urn:microsoft.com/office/officeart/2005/8/layout/hList1"/>
    <dgm:cxn modelId="{B02B8213-A404-DF45-8319-3BC5C40E389E}" srcId="{EAA399BC-9721-B743-908A-4746BA10215A}" destId="{FDF5CD54-EA25-3942-956C-82E1908345B4}" srcOrd="0" destOrd="0" parTransId="{59CBB45F-ADCE-0B42-BA75-814208F7085B}" sibTransId="{2F47B318-1ACE-5C49-A4AA-991153F8B598}"/>
    <dgm:cxn modelId="{224ED617-1402-43A5-B618-7E1C7BB8221E}" type="presOf" srcId="{AA7AC6F9-EA5C-C24F-9AA7-367614229CE5}" destId="{2564D77F-41EC-7E4A-A245-9110782AA240}" srcOrd="0" destOrd="3" presId="urn:microsoft.com/office/officeart/2005/8/layout/hList1"/>
    <dgm:cxn modelId="{214AEC25-2A3B-1A43-B0C9-5CECC3A466F0}" srcId="{601D3C9A-68CD-1945-ADB7-DA2E05599C5A}" destId="{EAA399BC-9721-B743-908A-4746BA10215A}" srcOrd="2" destOrd="0" parTransId="{9D19C632-3919-DE45-880A-E2AD016F0B25}" sibTransId="{68227547-BC39-C347-B8C5-E1BC84A76011}"/>
    <dgm:cxn modelId="{41850427-EEDF-5045-A5A3-CC02A5213458}" srcId="{2FB6C851-BFD2-3B40-A74C-E0990FBE416A}" destId="{EC49F6C6-D997-084C-8612-2D46DD5A7176}" srcOrd="1" destOrd="0" parTransId="{C75998B6-BE82-E547-ACB4-638FA3460B92}" sibTransId="{04738DDB-438E-1046-A266-A7B39AB944D1}"/>
    <dgm:cxn modelId="{0D77FE37-D743-DC44-B5FE-CAF38B913D00}" srcId="{EF6F7FB3-D3E5-4548-BD1E-B72774CF5B92}" destId="{B91B23CD-F7DF-CF4C-AA96-C5AE11072FEB}" srcOrd="6" destOrd="0" parTransId="{47E11246-F866-CA4C-81FD-1C2892219D62}" sibTransId="{E794840E-11F5-7446-B800-5B716BED825D}"/>
    <dgm:cxn modelId="{D0E61239-B286-4E49-B9C0-AD0E9D2C34E2}" type="presOf" srcId="{3449CA0B-085B-7749-B88D-B2F1CBAE4B99}" destId="{FDEEE735-727B-4C43-89AB-134B242C80FB}" srcOrd="0" destOrd="0" presId="urn:microsoft.com/office/officeart/2005/8/layout/hList1"/>
    <dgm:cxn modelId="{89DFD65B-02ED-4448-B722-A3F5F8E11187}" srcId="{4AC71D21-1492-3348-B7A6-5C2BCBD902D5}" destId="{3449CA0B-085B-7749-B88D-B2F1CBAE4B99}" srcOrd="0" destOrd="0" parTransId="{1C43AD30-7FC0-564B-A766-2458DF2E69E0}" sibTransId="{A09686E9-C949-9F4F-9A90-14AE7F054DF9}"/>
    <dgm:cxn modelId="{9F17495E-19D1-7D40-BCE4-17779A304E97}" type="presOf" srcId="{601D3C9A-68CD-1945-ADB7-DA2E05599C5A}" destId="{A0ED3AAA-DC34-4245-958B-1C17AB663406}" srcOrd="0" destOrd="0" presId="urn:microsoft.com/office/officeart/2005/8/layout/hList1"/>
    <dgm:cxn modelId="{F10A845F-9A6C-4917-B14B-47AD39DB312E}" type="presOf" srcId="{96D68090-243F-3A41-A3C1-758EE278E71A}" destId="{2564D77F-41EC-7E4A-A245-9110782AA240}" srcOrd="0" destOrd="2" presId="urn:microsoft.com/office/officeart/2005/8/layout/hList1"/>
    <dgm:cxn modelId="{72BE1860-3FFE-46DB-896F-E057A593EDE6}" type="presOf" srcId="{EF6F7FB3-D3E5-4548-BD1E-B72774CF5B92}" destId="{F559DA8F-9B70-E042-87E3-BAA2CDF72A58}" srcOrd="0" destOrd="0" presId="urn:microsoft.com/office/officeart/2005/8/layout/hList1"/>
    <dgm:cxn modelId="{990EFB41-459E-4148-B8CB-EF436A247B7F}" type="presOf" srcId="{CECDF376-691C-C44B-B0DD-0F70BA2E24CB}" destId="{F4029437-CD94-9243-A4E6-230F610E13A7}" srcOrd="0" destOrd="5" presId="urn:microsoft.com/office/officeart/2005/8/layout/hList1"/>
    <dgm:cxn modelId="{40E76544-6820-4443-B91A-689EEAB9E5D0}" srcId="{EAA399BC-9721-B743-908A-4746BA10215A}" destId="{96D68090-243F-3A41-A3C1-758EE278E71A}" srcOrd="2" destOrd="0" parTransId="{341B4FDE-85BA-E54D-8A5C-5ABCAFC85046}" sibTransId="{595B3F28-7CF7-094A-B06B-18FAD0834E66}"/>
    <dgm:cxn modelId="{156F904B-3F3E-4322-A7F5-BB1943A18F24}" type="presOf" srcId="{4AC71D21-1492-3348-B7A6-5C2BCBD902D5}" destId="{0E32FB3D-56EA-B24A-9E94-469C9E603473}" srcOrd="0" destOrd="0" presId="urn:microsoft.com/office/officeart/2005/8/layout/hList1"/>
    <dgm:cxn modelId="{CBA8774D-2D6F-4D59-9D8B-AEB0A61B6D93}" type="presOf" srcId="{6117F474-1AD4-E141-93EE-43518BA761D0}" destId="{F4029437-CD94-9243-A4E6-230F610E13A7}" srcOrd="0" destOrd="2" presId="urn:microsoft.com/office/officeart/2005/8/layout/hList1"/>
    <dgm:cxn modelId="{8458D34F-8264-40AB-B7E0-72C211D4A62D}" type="presOf" srcId="{E307C5A6-904E-1343-979E-725A9F8FF469}" destId="{F4029437-CD94-9243-A4E6-230F610E13A7}" srcOrd="0" destOrd="3" presId="urn:microsoft.com/office/officeart/2005/8/layout/hList1"/>
    <dgm:cxn modelId="{F5AC0A55-24F0-4070-8677-BB9F0AED3F39}" type="presOf" srcId="{75170E8D-BC1B-D740-BEB0-FD19E339036A}" destId="{FDEEE735-727B-4C43-89AB-134B242C80FB}" srcOrd="0" destOrd="1" presId="urn:microsoft.com/office/officeart/2005/8/layout/hList1"/>
    <dgm:cxn modelId="{F2485D58-B6ED-4234-B98F-558AB20DDA61}" type="presOf" srcId="{2FB6C851-BFD2-3B40-A74C-E0990FBE416A}" destId="{8676B8BF-5D93-364A-B177-E7FD628083CA}" srcOrd="0" destOrd="0" presId="urn:microsoft.com/office/officeart/2005/8/layout/hList1"/>
    <dgm:cxn modelId="{82FB535A-B384-8B4E-B549-00AF85EA9E40}" srcId="{4AC71D21-1492-3348-B7A6-5C2BCBD902D5}" destId="{75170E8D-BC1B-D740-BEB0-FD19E339036A}" srcOrd="1" destOrd="0" parTransId="{CDB5A14D-D835-F942-8CBC-0983290E734F}" sibTransId="{1C8594DC-7863-894A-AB3A-3C29378DA5DA}"/>
    <dgm:cxn modelId="{79767784-D30B-D644-AC3B-EA55D508888D}" srcId="{EF6F7FB3-D3E5-4548-BD1E-B72774CF5B92}" destId="{EE74E1FD-36DB-DD46-BF13-76B65F0AC30D}" srcOrd="1" destOrd="0" parTransId="{281854AB-1940-9640-91D9-010541892070}" sibTransId="{F5279980-9FF2-C045-884E-BE776457C196}"/>
    <dgm:cxn modelId="{BF1AB288-267C-5A47-9DEF-EC0E1448C889}" srcId="{EF6F7FB3-D3E5-4548-BD1E-B72774CF5B92}" destId="{E307C5A6-904E-1343-979E-725A9F8FF469}" srcOrd="3" destOrd="0" parTransId="{E69A362D-31C4-5643-9D0E-649F4C0B00CF}" sibTransId="{44B053BC-D2FA-7741-B6F2-E2D2781B7CC5}"/>
    <dgm:cxn modelId="{30B2A289-85C8-5C44-B639-DEB87A3D4C3E}" srcId="{EAA399BC-9721-B743-908A-4746BA10215A}" destId="{AA7AC6F9-EA5C-C24F-9AA7-367614229CE5}" srcOrd="3" destOrd="0" parTransId="{503DE381-F5D2-B54F-AB4A-42323F6A79F3}" sibTransId="{208FA664-611E-7E43-9E53-988972A2FAAB}"/>
    <dgm:cxn modelId="{2F9C3C8B-E1B3-4B0C-93C8-79A1F6844A4C}" type="presOf" srcId="{7F9CA40A-FB21-EB4C-90CE-2B1CFA54D562}" destId="{7186DE0A-A468-F844-8F3D-BC4EBCFEBA62}" srcOrd="0" destOrd="0" presId="urn:microsoft.com/office/officeart/2005/8/layout/hList1"/>
    <dgm:cxn modelId="{565EFA94-F6F3-44B6-AD0E-3994EB1CF176}" type="presOf" srcId="{EAA399BC-9721-B743-908A-4746BA10215A}" destId="{0F2E45FF-7FE9-FF49-8DB5-095D84C0F1B7}" srcOrd="0" destOrd="0" presId="urn:microsoft.com/office/officeart/2005/8/layout/hList1"/>
    <dgm:cxn modelId="{636B0FA4-895C-4330-B737-07B1B24041CE}" type="presOf" srcId="{EC49F6C6-D997-084C-8612-2D46DD5A7176}" destId="{7186DE0A-A468-F844-8F3D-BC4EBCFEBA62}" srcOrd="0" destOrd="1" presId="urn:microsoft.com/office/officeart/2005/8/layout/hList1"/>
    <dgm:cxn modelId="{7FD947A6-3EB1-AC4C-A596-D83DB505DDC2}" srcId="{EF6F7FB3-D3E5-4548-BD1E-B72774CF5B92}" destId="{6117F474-1AD4-E141-93EE-43518BA761D0}" srcOrd="2" destOrd="0" parTransId="{154DB7A4-8083-F649-91AF-57B30B11431B}" sibTransId="{53EB06E2-B7B4-B24B-8369-1DCCB801E6BD}"/>
    <dgm:cxn modelId="{4FA93AAC-1420-4097-8A19-5B11CF3F0BE2}" type="presOf" srcId="{00915C91-2BAC-CB44-9FA5-FC2883C261E5}" destId="{F4029437-CD94-9243-A4E6-230F610E13A7}" srcOrd="0" destOrd="0" presId="urn:microsoft.com/office/officeart/2005/8/layout/hList1"/>
    <dgm:cxn modelId="{4E5E23AE-F847-F245-B4D9-A1C962CFFF26}" srcId="{601D3C9A-68CD-1945-ADB7-DA2E05599C5A}" destId="{2FB6C851-BFD2-3B40-A74C-E0990FBE416A}" srcOrd="1" destOrd="0" parTransId="{69ED7902-97D8-9649-A75F-28025A394F19}" sibTransId="{D8C50E35-3552-B448-B86F-D91AA94E1D78}"/>
    <dgm:cxn modelId="{81851DAF-5233-42F2-B9CC-C86F640F8BA8}" type="presOf" srcId="{E60FA42F-2092-AC4D-B4C3-16BD20080929}" destId="{2564D77F-41EC-7E4A-A245-9110782AA240}" srcOrd="0" destOrd="1" presId="urn:microsoft.com/office/officeart/2005/8/layout/hList1"/>
    <dgm:cxn modelId="{8634D0B5-E374-B24C-84F7-AA700BBFCA41}" srcId="{4AC71D21-1492-3348-B7A6-5C2BCBD902D5}" destId="{1B5B7AFB-57D0-C24C-A786-43096A5AC225}" srcOrd="2" destOrd="0" parTransId="{32186EC6-F23F-5E4C-B07A-FA236FDEBBB8}" sibTransId="{5440F09A-A7D1-C148-BC9C-43BB1414766E}"/>
    <dgm:cxn modelId="{C926C7C9-D26C-EB45-8190-82A256F827A2}" srcId="{601D3C9A-68CD-1945-ADB7-DA2E05599C5A}" destId="{EF6F7FB3-D3E5-4548-BD1E-B72774CF5B92}" srcOrd="0" destOrd="0" parTransId="{45730361-F738-1D4E-A3C5-411A94807EC9}" sibTransId="{3EE142BA-28AD-B148-A13A-EC6787931D89}"/>
    <dgm:cxn modelId="{B000F4D1-9727-D546-B993-80AA1812FC0B}" srcId="{EF6F7FB3-D3E5-4548-BD1E-B72774CF5B92}" destId="{00915C91-2BAC-CB44-9FA5-FC2883C261E5}" srcOrd="0" destOrd="0" parTransId="{3659585A-5D96-424C-8A2E-8A3687C2367C}" sibTransId="{2270BCC6-9E2B-4C4C-BCD4-A223C629D2A8}"/>
    <dgm:cxn modelId="{933BA9D8-5EB0-4C2D-9C25-B1CCDD4F78A7}" type="presOf" srcId="{1B5B7AFB-57D0-C24C-A786-43096A5AC225}" destId="{FDEEE735-727B-4C43-89AB-134B242C80FB}" srcOrd="0" destOrd="2" presId="urn:microsoft.com/office/officeart/2005/8/layout/hList1"/>
    <dgm:cxn modelId="{E8F1C6E3-BD50-2E47-B102-7401C727B357}" srcId="{601D3C9A-68CD-1945-ADB7-DA2E05599C5A}" destId="{4AC71D21-1492-3348-B7A6-5C2BCBD902D5}" srcOrd="3" destOrd="0" parTransId="{9402E8AD-84FA-DD4F-859F-CDEB1436E7F3}" sibTransId="{EBA507D5-0C59-254B-A7F5-1D1427C5D840}"/>
    <dgm:cxn modelId="{91A6E0E6-C0B4-5744-BE8E-5F1810902007}" srcId="{EF6F7FB3-D3E5-4548-BD1E-B72774CF5B92}" destId="{CECDF376-691C-C44B-B0DD-0F70BA2E24CB}" srcOrd="5" destOrd="0" parTransId="{CE7163BD-01C1-9A4E-B5E0-B56A9F744374}" sibTransId="{8E30113C-80AA-8645-A0A3-DB636CFE456E}"/>
    <dgm:cxn modelId="{2CD8ACE9-31C3-BD47-9AC6-6CBEBC9A60F5}" srcId="{EAA399BC-9721-B743-908A-4746BA10215A}" destId="{E60FA42F-2092-AC4D-B4C3-16BD20080929}" srcOrd="1" destOrd="0" parTransId="{1150579C-4A8E-F44A-88B2-202B8B0F39B7}" sibTransId="{D9D76843-11A8-994C-B312-F6DE1F70CC86}"/>
    <dgm:cxn modelId="{3B1850F3-D12D-4944-A12C-AD7FEDC39E2C}" type="presOf" srcId="{FDF5CD54-EA25-3942-956C-82E1908345B4}" destId="{2564D77F-41EC-7E4A-A245-9110782AA240}" srcOrd="0" destOrd="0" presId="urn:microsoft.com/office/officeart/2005/8/layout/hList1"/>
    <dgm:cxn modelId="{B6C20CFB-7347-4098-ABDD-81E1829D74D3}" type="presOf" srcId="{EE74E1FD-36DB-DD46-BF13-76B65F0AC30D}" destId="{F4029437-CD94-9243-A4E6-230F610E13A7}" srcOrd="0" destOrd="1" presId="urn:microsoft.com/office/officeart/2005/8/layout/hList1"/>
    <dgm:cxn modelId="{64B63438-EB4D-4BF5-B676-9A0E8C1F9D55}" type="presParOf" srcId="{A0ED3AAA-DC34-4245-958B-1C17AB663406}" destId="{69D527AC-4091-1346-A593-21DCC20F4CD2}" srcOrd="0" destOrd="0" presId="urn:microsoft.com/office/officeart/2005/8/layout/hList1"/>
    <dgm:cxn modelId="{AB11F707-4D81-4AFD-8BBC-713C04B86270}" type="presParOf" srcId="{69D527AC-4091-1346-A593-21DCC20F4CD2}" destId="{F559DA8F-9B70-E042-87E3-BAA2CDF72A58}" srcOrd="0" destOrd="0" presId="urn:microsoft.com/office/officeart/2005/8/layout/hList1"/>
    <dgm:cxn modelId="{9B1013EF-BA7E-49A9-B8F4-D9C839112DF1}" type="presParOf" srcId="{69D527AC-4091-1346-A593-21DCC20F4CD2}" destId="{F4029437-CD94-9243-A4E6-230F610E13A7}" srcOrd="1" destOrd="0" presId="urn:microsoft.com/office/officeart/2005/8/layout/hList1"/>
    <dgm:cxn modelId="{34B5AD7F-5D6A-436E-9E82-92176472719B}" type="presParOf" srcId="{A0ED3AAA-DC34-4245-958B-1C17AB663406}" destId="{11938A7F-2459-F64D-895E-B6AD2A84019D}" srcOrd="1" destOrd="0" presId="urn:microsoft.com/office/officeart/2005/8/layout/hList1"/>
    <dgm:cxn modelId="{166ED076-345D-427F-A23A-5424EDEC5597}" type="presParOf" srcId="{A0ED3AAA-DC34-4245-958B-1C17AB663406}" destId="{2951423E-C911-9B43-ADFF-461A2AFE3377}" srcOrd="2" destOrd="0" presId="urn:microsoft.com/office/officeart/2005/8/layout/hList1"/>
    <dgm:cxn modelId="{7DE045AB-80A5-4CBA-AD75-7645D1761D57}" type="presParOf" srcId="{2951423E-C911-9B43-ADFF-461A2AFE3377}" destId="{8676B8BF-5D93-364A-B177-E7FD628083CA}" srcOrd="0" destOrd="0" presId="urn:microsoft.com/office/officeart/2005/8/layout/hList1"/>
    <dgm:cxn modelId="{AB2DC34B-6E41-4426-8891-4B5645B93508}" type="presParOf" srcId="{2951423E-C911-9B43-ADFF-461A2AFE3377}" destId="{7186DE0A-A468-F844-8F3D-BC4EBCFEBA62}" srcOrd="1" destOrd="0" presId="urn:microsoft.com/office/officeart/2005/8/layout/hList1"/>
    <dgm:cxn modelId="{E74A17ED-FE0C-4FF5-888A-D368DA2909E8}" type="presParOf" srcId="{A0ED3AAA-DC34-4245-958B-1C17AB663406}" destId="{3AC3ACB8-807E-604C-8E3A-3CD69377C72A}" srcOrd="3" destOrd="0" presId="urn:microsoft.com/office/officeart/2005/8/layout/hList1"/>
    <dgm:cxn modelId="{908737E5-8D6C-45B4-9F1B-11B2E22B1019}" type="presParOf" srcId="{A0ED3AAA-DC34-4245-958B-1C17AB663406}" destId="{95B24CD4-4F2F-AE4E-BB09-A3D301E9DD1F}" srcOrd="4" destOrd="0" presId="urn:microsoft.com/office/officeart/2005/8/layout/hList1"/>
    <dgm:cxn modelId="{9C6718A4-167C-45E6-9D82-4D3FCFDBBBBF}" type="presParOf" srcId="{95B24CD4-4F2F-AE4E-BB09-A3D301E9DD1F}" destId="{0F2E45FF-7FE9-FF49-8DB5-095D84C0F1B7}" srcOrd="0" destOrd="0" presId="urn:microsoft.com/office/officeart/2005/8/layout/hList1"/>
    <dgm:cxn modelId="{15D87AED-C6B5-4F46-A9F6-D13F51626A13}" type="presParOf" srcId="{95B24CD4-4F2F-AE4E-BB09-A3D301E9DD1F}" destId="{2564D77F-41EC-7E4A-A245-9110782AA240}" srcOrd="1" destOrd="0" presId="urn:microsoft.com/office/officeart/2005/8/layout/hList1"/>
    <dgm:cxn modelId="{C24ED73C-9011-4286-AA93-FBDCCAB43A80}" type="presParOf" srcId="{A0ED3AAA-DC34-4245-958B-1C17AB663406}" destId="{9C501F13-EA3C-4147-AD30-2F4EFBDDBF6D}" srcOrd="5" destOrd="0" presId="urn:microsoft.com/office/officeart/2005/8/layout/hList1"/>
    <dgm:cxn modelId="{CB6AE4F2-1309-4407-A233-9A403A369241}" type="presParOf" srcId="{A0ED3AAA-DC34-4245-958B-1C17AB663406}" destId="{327C4128-FFE2-EA43-9A30-3D5C39C803F1}" srcOrd="6" destOrd="0" presId="urn:microsoft.com/office/officeart/2005/8/layout/hList1"/>
    <dgm:cxn modelId="{738F9B55-EB4B-4831-AE47-D10EC79CEF6A}" type="presParOf" srcId="{327C4128-FFE2-EA43-9A30-3D5C39C803F1}" destId="{0E32FB3D-56EA-B24A-9E94-469C9E603473}" srcOrd="0" destOrd="0" presId="urn:microsoft.com/office/officeart/2005/8/layout/hList1"/>
    <dgm:cxn modelId="{3E57AA2E-B3ED-4B5C-ACEA-4C4EB7F14293}" type="presParOf" srcId="{327C4128-FFE2-EA43-9A30-3D5C39C803F1}" destId="{FDEEE735-727B-4C43-89AB-134B242C80F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EF6F7FB3-D3E5-4548-BD1E-B72774CF5B92}">
      <dgm:prSet phldrT="[Text]"/>
      <dgm:spPr/>
      <dgm:t>
        <a:bodyPr/>
        <a:lstStyle/>
        <a:p>
          <a:r>
            <a:rPr lang="en-US" dirty="0"/>
            <a:t>Workflow</a:t>
          </a:r>
        </a:p>
      </dgm:t>
    </dgm:pt>
    <dgm:pt modelId="{45730361-F738-1D4E-A3C5-411A94807EC9}" type="parTrans" cxnId="{C926C7C9-D26C-EB45-8190-82A256F827A2}">
      <dgm:prSet/>
      <dgm:spPr/>
      <dgm:t>
        <a:bodyPr/>
        <a:lstStyle/>
        <a:p>
          <a:endParaRPr lang="en-US"/>
        </a:p>
      </dgm:t>
    </dgm:pt>
    <dgm:pt modelId="{3EE142BA-28AD-B148-A13A-EC6787931D89}" type="sibTrans" cxnId="{C926C7C9-D26C-EB45-8190-82A256F827A2}">
      <dgm:prSet/>
      <dgm:spPr/>
      <dgm:t>
        <a:bodyPr/>
        <a:lstStyle/>
        <a:p>
          <a:endParaRPr lang="en-US"/>
        </a:p>
      </dgm:t>
    </dgm:pt>
    <dgm:pt modelId="{61897AD0-23B2-154C-86D2-E400A5896A0E}">
      <dgm:prSet phldrT="[Text]" custT="1"/>
      <dgm:spPr/>
      <dgm:t>
        <a:bodyPr/>
        <a:lstStyle/>
        <a:p>
          <a:r>
            <a:rPr lang="en-US" sz="1400" dirty="0"/>
            <a:t>Collection of states and actions that models application business logic as a state machine</a:t>
          </a:r>
          <a:br>
            <a:rPr lang="en-US" sz="1400" dirty="0"/>
          </a:br>
          <a:endParaRPr lang="en-US" sz="1400" dirty="0"/>
        </a:p>
      </dgm:t>
    </dgm:pt>
    <dgm:pt modelId="{2AFF3A5B-30E9-BF44-86B7-A93B6D95B237}" type="parTrans" cxnId="{F6B7C667-F7D9-AE4C-B15E-F158C7A45FAF}">
      <dgm:prSet/>
      <dgm:spPr/>
      <dgm:t>
        <a:bodyPr/>
        <a:lstStyle/>
        <a:p>
          <a:endParaRPr lang="en-US"/>
        </a:p>
      </dgm:t>
    </dgm:pt>
    <dgm:pt modelId="{EE034AE8-6B16-2D49-88B4-99C48610820A}" type="sibTrans" cxnId="{F6B7C667-F7D9-AE4C-B15E-F158C7A45FAF}">
      <dgm:prSet/>
      <dgm:spPr/>
      <dgm:t>
        <a:bodyPr/>
        <a:lstStyle/>
        <a:p>
          <a:endParaRPr lang="en-US"/>
        </a:p>
      </dgm:t>
    </dgm:pt>
    <dgm:pt modelId="{2FB6C851-BFD2-3B40-A74C-E0990FBE416A}">
      <dgm:prSet phldrT="[Text]"/>
      <dgm:spPr/>
      <dgm:t>
        <a:bodyPr/>
        <a:lstStyle/>
        <a:p>
          <a:r>
            <a:rPr lang="en-US" dirty="0"/>
            <a:t>Constructor</a:t>
          </a:r>
        </a:p>
      </dgm:t>
    </dgm:pt>
    <dgm:pt modelId="{69ED7902-97D8-9649-A75F-28025A394F19}" type="parTrans" cxnId="{4E5E23AE-F847-F245-B4D9-A1C962CFFF26}">
      <dgm:prSet/>
      <dgm:spPr/>
      <dgm:t>
        <a:bodyPr/>
        <a:lstStyle/>
        <a:p>
          <a:endParaRPr lang="en-US"/>
        </a:p>
      </dgm:t>
    </dgm:pt>
    <dgm:pt modelId="{D8C50E35-3552-B448-B86F-D91AA94E1D78}" type="sibTrans" cxnId="{4E5E23AE-F847-F245-B4D9-A1C962CFFF26}">
      <dgm:prSet/>
      <dgm:spPr/>
      <dgm:t>
        <a:bodyPr/>
        <a:lstStyle/>
        <a:p>
          <a:endParaRPr lang="en-US"/>
        </a:p>
      </dgm:t>
    </dgm:pt>
    <dgm:pt modelId="{7F9CA40A-FB21-EB4C-90CE-2B1CFA54D562}">
      <dgm:prSet phldrT="[Text]" custT="1"/>
      <dgm:spPr/>
      <dgm:t>
        <a:bodyPr/>
        <a:lstStyle/>
        <a:p>
          <a:r>
            <a:rPr lang="en-US" sz="1400" dirty="0"/>
            <a:t>Defines input parameters for an instance of a workflow</a:t>
          </a:r>
          <a:br>
            <a:rPr lang="en-US" sz="1400" dirty="0"/>
          </a:br>
          <a:endParaRPr lang="en-US" sz="1400" dirty="0"/>
        </a:p>
      </dgm:t>
    </dgm:pt>
    <dgm:pt modelId="{FB56CC65-3174-5942-901F-78F5D60CB511}" type="parTrans" cxnId="{D927760D-AA96-5046-B45C-31EC7286B247}">
      <dgm:prSet/>
      <dgm:spPr/>
      <dgm:t>
        <a:bodyPr/>
        <a:lstStyle/>
        <a:p>
          <a:endParaRPr lang="en-US"/>
        </a:p>
      </dgm:t>
    </dgm:pt>
    <dgm:pt modelId="{26F71CCA-6513-B64B-9C8D-920A4BD6E55C}" type="sibTrans" cxnId="{D927760D-AA96-5046-B45C-31EC7286B247}">
      <dgm:prSet/>
      <dgm:spPr/>
      <dgm:t>
        <a:bodyPr/>
        <a:lstStyle/>
        <a:p>
          <a:endParaRPr lang="en-US"/>
        </a:p>
      </dgm:t>
    </dgm:pt>
    <dgm:pt modelId="{0572007E-4073-C647-B20C-6FBBED67E818}">
      <dgm:prSet phldrT="[Text]" custT="1"/>
      <dgm:spPr/>
      <dgm:t>
        <a:bodyPr/>
        <a:lstStyle/>
        <a:p>
          <a:r>
            <a:rPr lang="en-US" sz="1400" dirty="0"/>
            <a:t>Maps to the Parameters column of the chart on the previous slide</a:t>
          </a:r>
        </a:p>
      </dgm:t>
    </dgm:pt>
    <dgm:pt modelId="{3E7BD8DD-63F0-534F-AC45-93135C8340A4}" type="parTrans" cxnId="{566BC760-462F-1347-8C8C-1F9352B5FAB0}">
      <dgm:prSet/>
      <dgm:spPr/>
      <dgm:t>
        <a:bodyPr/>
        <a:lstStyle/>
        <a:p>
          <a:endParaRPr lang="en-US"/>
        </a:p>
      </dgm:t>
    </dgm:pt>
    <dgm:pt modelId="{0D4E0869-FC29-F242-BDBC-3E8F1DE89E82}" type="sibTrans" cxnId="{566BC760-462F-1347-8C8C-1F9352B5FAB0}">
      <dgm:prSet/>
      <dgm:spPr/>
      <dgm:t>
        <a:bodyPr/>
        <a:lstStyle/>
        <a:p>
          <a:endParaRPr lang="en-US"/>
        </a:p>
      </dgm:t>
    </dgm:pt>
    <dgm:pt modelId="{EAA399BC-9721-B743-908A-4746BA10215A}">
      <dgm:prSet phldrT="[Text]"/>
      <dgm:spPr/>
      <dgm:t>
        <a:bodyPr/>
        <a:lstStyle/>
        <a:p>
          <a:r>
            <a:rPr lang="en-US" dirty="0"/>
            <a:t>Functions</a:t>
          </a:r>
        </a:p>
      </dgm:t>
    </dgm:pt>
    <dgm:pt modelId="{9D19C632-3919-DE45-880A-E2AD016F0B25}" type="parTrans" cxnId="{214AEC25-2A3B-1A43-B0C9-5CECC3A466F0}">
      <dgm:prSet/>
      <dgm:spPr/>
      <dgm:t>
        <a:bodyPr/>
        <a:lstStyle/>
        <a:p>
          <a:endParaRPr lang="en-US"/>
        </a:p>
      </dgm:t>
    </dgm:pt>
    <dgm:pt modelId="{68227547-BC39-C347-B8C5-E1BC84A76011}" type="sibTrans" cxnId="{214AEC25-2A3B-1A43-B0C9-5CECC3A466F0}">
      <dgm:prSet/>
      <dgm:spPr/>
      <dgm:t>
        <a:bodyPr/>
        <a:lstStyle/>
        <a:p>
          <a:endParaRPr lang="en-US"/>
        </a:p>
      </dgm:t>
    </dgm:pt>
    <dgm:pt modelId="{FDF5CD54-EA25-3942-956C-82E1908345B4}">
      <dgm:prSet phldrT="[Text]" custT="1"/>
      <dgm:spPr/>
      <dgm:t>
        <a:bodyPr/>
        <a:lstStyle/>
        <a:p>
          <a:r>
            <a:rPr lang="en-US" sz="1400" dirty="0"/>
            <a:t>Defines functions that can be executed on the workflow</a:t>
          </a:r>
          <a:br>
            <a:rPr lang="en-US" sz="1400" dirty="0"/>
          </a:br>
          <a:endParaRPr lang="en-US" sz="1400" dirty="0"/>
        </a:p>
      </dgm:t>
    </dgm:pt>
    <dgm:pt modelId="{59CBB45F-ADCE-0B42-BA75-814208F7085B}" type="parTrans" cxnId="{B02B8213-A404-DF45-8319-3BC5C40E389E}">
      <dgm:prSet/>
      <dgm:spPr/>
      <dgm:t>
        <a:bodyPr/>
        <a:lstStyle/>
        <a:p>
          <a:endParaRPr lang="en-US"/>
        </a:p>
      </dgm:t>
    </dgm:pt>
    <dgm:pt modelId="{2F47B318-1ACE-5C49-A4AA-991153F8B598}" type="sibTrans" cxnId="{B02B8213-A404-DF45-8319-3BC5C40E389E}">
      <dgm:prSet/>
      <dgm:spPr/>
      <dgm:t>
        <a:bodyPr/>
        <a:lstStyle/>
        <a:p>
          <a:endParaRPr lang="en-US"/>
        </a:p>
      </dgm:t>
    </dgm:pt>
    <dgm:pt modelId="{3F6B1B6C-C2FD-1C47-8097-F4FA7254109B}">
      <dgm:prSet phldrT="[Text]" custT="1"/>
      <dgm:spPr/>
      <dgm:t>
        <a:bodyPr/>
        <a:lstStyle/>
        <a:p>
          <a:r>
            <a:rPr lang="en-US" sz="1400" dirty="0"/>
            <a:t>The corresponding smart contract must use the same Name for the applicable function</a:t>
          </a:r>
          <a:br>
            <a:rPr lang="en-US" sz="1400" dirty="0"/>
          </a:br>
          <a:endParaRPr lang="en-US" sz="1400" dirty="0"/>
        </a:p>
      </dgm:t>
    </dgm:pt>
    <dgm:pt modelId="{813B38D7-AB05-6B4C-8AF3-3347A563928B}" type="parTrans" cxnId="{BE905F82-9FCC-004A-A0F6-A9FF26C784DD}">
      <dgm:prSet/>
      <dgm:spPr/>
      <dgm:t>
        <a:bodyPr/>
        <a:lstStyle/>
        <a:p>
          <a:endParaRPr lang="en-US"/>
        </a:p>
      </dgm:t>
    </dgm:pt>
    <dgm:pt modelId="{AE024315-D86F-F54A-AE4D-969E581EC9AB}" type="sibTrans" cxnId="{BE905F82-9FCC-004A-A0F6-A9FF26C784DD}">
      <dgm:prSet/>
      <dgm:spPr/>
      <dgm:t>
        <a:bodyPr/>
        <a:lstStyle/>
        <a:p>
          <a:endParaRPr lang="en-US"/>
        </a:p>
      </dgm:t>
    </dgm:pt>
    <dgm:pt modelId="{4AC71D21-1492-3348-B7A6-5C2BCBD902D5}">
      <dgm:prSet phldrT="[Text]"/>
      <dgm:spPr/>
      <dgm:t>
        <a:bodyPr/>
        <a:lstStyle/>
        <a:p>
          <a:r>
            <a:rPr lang="en-US" dirty="0"/>
            <a:t>States</a:t>
          </a:r>
        </a:p>
      </dgm:t>
    </dgm:pt>
    <dgm:pt modelId="{9402E8AD-84FA-DD4F-859F-CDEB1436E7F3}" type="parTrans" cxnId="{E8F1C6E3-BD50-2E47-B102-7401C727B357}">
      <dgm:prSet/>
      <dgm:spPr/>
      <dgm:t>
        <a:bodyPr/>
        <a:lstStyle/>
        <a:p>
          <a:endParaRPr lang="en-US"/>
        </a:p>
      </dgm:t>
    </dgm:pt>
    <dgm:pt modelId="{EBA507D5-0C59-254B-A7F5-1D1427C5D840}" type="sibTrans" cxnId="{E8F1C6E3-BD50-2E47-B102-7401C727B357}">
      <dgm:prSet/>
      <dgm:spPr/>
      <dgm:t>
        <a:bodyPr/>
        <a:lstStyle/>
        <a:p>
          <a:endParaRPr lang="en-US"/>
        </a:p>
      </dgm:t>
    </dgm:pt>
    <dgm:pt modelId="{80FFFCBF-D80C-E747-9FB3-93483E5A3463}">
      <dgm:prSet phldrT="[Text]"/>
      <dgm:spPr/>
      <dgm:t>
        <a:bodyPr/>
        <a:lstStyle/>
        <a:p>
          <a:r>
            <a:rPr lang="en-US" dirty="0"/>
            <a:t>Transitions</a:t>
          </a:r>
        </a:p>
      </dgm:t>
    </dgm:pt>
    <dgm:pt modelId="{FA0FC2D7-8BF9-8640-90C1-8FE764979180}" type="parTrans" cxnId="{D39492EB-3035-754B-8D64-1AE51287BD5E}">
      <dgm:prSet/>
      <dgm:spPr/>
      <dgm:t>
        <a:bodyPr/>
        <a:lstStyle/>
        <a:p>
          <a:endParaRPr lang="en-US"/>
        </a:p>
      </dgm:t>
    </dgm:pt>
    <dgm:pt modelId="{B631F706-114F-6B4B-B377-0D22CADAC5BE}" type="sibTrans" cxnId="{D39492EB-3035-754B-8D64-1AE51287BD5E}">
      <dgm:prSet/>
      <dgm:spPr/>
      <dgm:t>
        <a:bodyPr/>
        <a:lstStyle/>
        <a:p>
          <a:endParaRPr lang="en-US"/>
        </a:p>
      </dgm:t>
    </dgm:pt>
    <dgm:pt modelId="{3449CA0B-085B-7749-B88D-B2F1CBAE4B99}">
      <dgm:prSet phldrT="[Text]" custT="1"/>
      <dgm:spPr/>
      <dgm:t>
        <a:bodyPr/>
        <a:lstStyle/>
        <a:p>
          <a:r>
            <a:rPr lang="en-US" sz="1400" b="0" i="0" u="none" dirty="0"/>
            <a:t>States that define the status within the workflow</a:t>
          </a:r>
          <a:br>
            <a:rPr lang="en-US" sz="1400" b="0" i="0" u="none" dirty="0"/>
          </a:br>
          <a:endParaRPr lang="en-US" sz="1400" dirty="0"/>
        </a:p>
      </dgm:t>
    </dgm:pt>
    <dgm:pt modelId="{1C43AD30-7FC0-564B-A766-2458DF2E69E0}" type="parTrans" cxnId="{89DFD65B-02ED-4448-B722-A3F5F8E11187}">
      <dgm:prSet/>
      <dgm:spPr/>
      <dgm:t>
        <a:bodyPr/>
        <a:lstStyle/>
        <a:p>
          <a:endParaRPr lang="en-US"/>
        </a:p>
      </dgm:t>
    </dgm:pt>
    <dgm:pt modelId="{A09686E9-C949-9F4F-9A90-14AE7F054DF9}" type="sibTrans" cxnId="{89DFD65B-02ED-4448-B722-A3F5F8E11187}">
      <dgm:prSet/>
      <dgm:spPr/>
      <dgm:t>
        <a:bodyPr/>
        <a:lstStyle/>
        <a:p>
          <a:endParaRPr lang="en-US"/>
        </a:p>
      </dgm:t>
    </dgm:pt>
    <dgm:pt modelId="{74EEF99F-C04B-464D-AA6E-2ABE3105634C}">
      <dgm:prSet phldrT="[Text]"/>
      <dgm:spPr/>
      <dgm:t>
        <a:bodyPr/>
        <a:lstStyle/>
        <a:p>
          <a:endParaRPr lang="en-US" sz="1900" dirty="0"/>
        </a:p>
      </dgm:t>
    </dgm:pt>
    <dgm:pt modelId="{68EFC4DF-08A0-FF4E-B77B-D8305E73CB60}" type="parTrans" cxnId="{77FFF58D-858B-0547-BAD1-616902D27719}">
      <dgm:prSet/>
      <dgm:spPr/>
      <dgm:t>
        <a:bodyPr/>
        <a:lstStyle/>
        <a:p>
          <a:endParaRPr lang="en-US"/>
        </a:p>
      </dgm:t>
    </dgm:pt>
    <dgm:pt modelId="{AB0610CE-253F-7B4E-AF5B-51EFA1DA3176}" type="sibTrans" cxnId="{77FFF58D-858B-0547-BAD1-616902D27719}">
      <dgm:prSet/>
      <dgm:spPr/>
      <dgm:t>
        <a:bodyPr/>
        <a:lstStyle/>
        <a:p>
          <a:endParaRPr lang="en-US"/>
        </a:p>
      </dgm:t>
    </dgm:pt>
    <dgm:pt modelId="{72BFE7F6-A176-1B47-B070-566F06008D8C}">
      <dgm:prSet phldrT="[Text]"/>
      <dgm:spPr/>
      <dgm:t>
        <a:bodyPr/>
        <a:lstStyle/>
        <a:p>
          <a:r>
            <a:rPr lang="en-US" dirty="0"/>
            <a:t>Application Roles</a:t>
          </a:r>
        </a:p>
      </dgm:t>
    </dgm:pt>
    <dgm:pt modelId="{6296460E-5054-D444-AC51-E3DB89F21CCE}" type="parTrans" cxnId="{10A70716-29CE-FE44-BA03-48A47D324671}">
      <dgm:prSet/>
      <dgm:spPr/>
      <dgm:t>
        <a:bodyPr/>
        <a:lstStyle/>
        <a:p>
          <a:endParaRPr lang="en-US"/>
        </a:p>
      </dgm:t>
    </dgm:pt>
    <dgm:pt modelId="{AC214A4B-81DB-1847-BF7D-A045432B18AC}" type="sibTrans" cxnId="{10A70716-29CE-FE44-BA03-48A47D324671}">
      <dgm:prSet/>
      <dgm:spPr/>
      <dgm:t>
        <a:bodyPr/>
        <a:lstStyle/>
        <a:p>
          <a:endParaRPr lang="en-US"/>
        </a:p>
      </dgm:t>
    </dgm:pt>
    <dgm:pt modelId="{77CE68CE-4744-1E48-9CD9-6762BE8CF3E5}">
      <dgm:prSet phldrT="[Text]" custT="1"/>
      <dgm:spPr/>
      <dgm:t>
        <a:bodyPr/>
        <a:lstStyle/>
        <a:p>
          <a:r>
            <a:rPr lang="en-US" sz="1400" dirty="0"/>
            <a:t>Based on Personas</a:t>
          </a:r>
          <a:br>
            <a:rPr lang="en-US" sz="1400" dirty="0"/>
          </a:br>
          <a:endParaRPr lang="en-US" sz="1400" dirty="0"/>
        </a:p>
      </dgm:t>
    </dgm:pt>
    <dgm:pt modelId="{5A2A8D0B-AF86-4B47-BA2A-4A9FCA5112F5}" type="parTrans" cxnId="{5F32F18B-5F24-484F-8086-41258263B521}">
      <dgm:prSet/>
      <dgm:spPr/>
      <dgm:t>
        <a:bodyPr/>
        <a:lstStyle/>
        <a:p>
          <a:endParaRPr lang="en-US"/>
        </a:p>
      </dgm:t>
    </dgm:pt>
    <dgm:pt modelId="{B4FF8DBE-ED9B-314D-A9D4-F739EBDA79FA}" type="sibTrans" cxnId="{5F32F18B-5F24-484F-8086-41258263B521}">
      <dgm:prSet/>
      <dgm:spPr/>
      <dgm:t>
        <a:bodyPr/>
        <a:lstStyle/>
        <a:p>
          <a:endParaRPr lang="en-US"/>
        </a:p>
      </dgm:t>
    </dgm:pt>
    <dgm:pt modelId="{B0C1D075-519D-D541-B411-AA19E2440782}">
      <dgm:prSet phldrT="[Text]" custT="1"/>
      <dgm:spPr/>
      <dgm:t>
        <a:bodyPr/>
        <a:lstStyle/>
        <a:p>
          <a:r>
            <a:rPr lang="en-US" sz="1400" dirty="0"/>
            <a:t>Initiators start the workflow process</a:t>
          </a:r>
          <a:br>
            <a:rPr lang="en-US" sz="1400" dirty="0"/>
          </a:br>
          <a:endParaRPr lang="en-US" sz="1400" dirty="0"/>
        </a:p>
      </dgm:t>
    </dgm:pt>
    <dgm:pt modelId="{36D62F5A-F93E-114B-A35E-CBD70077A35D}" type="parTrans" cxnId="{AC37683B-1BB7-9449-B703-7E5680EE93AA}">
      <dgm:prSet/>
      <dgm:spPr/>
      <dgm:t>
        <a:bodyPr/>
        <a:lstStyle/>
        <a:p>
          <a:endParaRPr lang="en-US"/>
        </a:p>
      </dgm:t>
    </dgm:pt>
    <dgm:pt modelId="{028937EE-3E5F-3A42-B717-58AFEC735DDB}" type="sibTrans" cxnId="{AC37683B-1BB7-9449-B703-7E5680EE93AA}">
      <dgm:prSet/>
      <dgm:spPr/>
      <dgm:t>
        <a:bodyPr/>
        <a:lstStyle/>
        <a:p>
          <a:endParaRPr lang="en-US"/>
        </a:p>
      </dgm:t>
    </dgm:pt>
    <dgm:pt modelId="{DE0F52DB-5EE7-FE40-BFD8-0B4D5601F323}">
      <dgm:prSet phldrT="[Text]" custT="1"/>
      <dgm:spPr/>
      <dgm:t>
        <a:bodyPr/>
        <a:lstStyle/>
        <a:p>
          <a:r>
            <a:rPr lang="en-US" sz="1400" dirty="0"/>
            <a:t>Linked to security groups in Azure Active Directory</a:t>
          </a:r>
          <a:br>
            <a:rPr lang="en-US" sz="1400" dirty="0"/>
          </a:br>
          <a:endParaRPr lang="en-US" sz="1400" dirty="0"/>
        </a:p>
      </dgm:t>
    </dgm:pt>
    <dgm:pt modelId="{2EB32924-DDAF-1540-BDE0-E456B7A9442F}" type="parTrans" cxnId="{5E989A67-E22B-8543-81CD-2142806C5753}">
      <dgm:prSet/>
      <dgm:spPr/>
      <dgm:t>
        <a:bodyPr/>
        <a:lstStyle/>
        <a:p>
          <a:endParaRPr lang="en-US"/>
        </a:p>
      </dgm:t>
    </dgm:pt>
    <dgm:pt modelId="{D6307B99-4333-AF4D-BE11-26DE0D3F51A9}" type="sibTrans" cxnId="{5E989A67-E22B-8543-81CD-2142806C5753}">
      <dgm:prSet/>
      <dgm:spPr/>
      <dgm:t>
        <a:bodyPr/>
        <a:lstStyle/>
        <a:p>
          <a:endParaRPr lang="en-US"/>
        </a:p>
      </dgm:t>
    </dgm:pt>
    <dgm:pt modelId="{977BF214-530D-E541-B1C2-2A1FBB2286CD}">
      <dgm:prSet phldrT="[Text]" custT="1"/>
      <dgm:spPr/>
      <dgm:t>
        <a:bodyPr/>
        <a:lstStyle/>
        <a:p>
          <a:r>
            <a:rPr lang="en-US" sz="1400" dirty="0"/>
            <a:t>Participants modify workflow data</a:t>
          </a:r>
          <a:br>
            <a:rPr lang="en-US" sz="1400" dirty="0"/>
          </a:br>
          <a:endParaRPr lang="en-US" sz="1400" dirty="0"/>
        </a:p>
      </dgm:t>
    </dgm:pt>
    <dgm:pt modelId="{256354CA-5B13-944D-9191-EC46D2346C65}" type="parTrans" cxnId="{3626C794-6EC5-E049-BA04-83A85EFD6422}">
      <dgm:prSet/>
      <dgm:spPr/>
      <dgm:t>
        <a:bodyPr/>
        <a:lstStyle/>
        <a:p>
          <a:endParaRPr lang="en-US"/>
        </a:p>
      </dgm:t>
    </dgm:pt>
    <dgm:pt modelId="{9E0DD595-6F2F-6341-B7B8-41C7CD55033C}" type="sibTrans" cxnId="{3626C794-6EC5-E049-BA04-83A85EFD6422}">
      <dgm:prSet/>
      <dgm:spPr/>
      <dgm:t>
        <a:bodyPr/>
        <a:lstStyle/>
        <a:p>
          <a:endParaRPr lang="en-US"/>
        </a:p>
      </dgm:t>
    </dgm:pt>
    <dgm:pt modelId="{43F2E7D0-3E74-B845-BE41-42DB0FACEA8B}">
      <dgm:prSet phldrT="[Text]" custT="1"/>
      <dgm:spPr/>
      <dgm:t>
        <a:bodyPr/>
        <a:lstStyle/>
        <a:p>
          <a:r>
            <a:rPr lang="en-US" sz="1400" dirty="0"/>
            <a:t>Observers have read-only access</a:t>
          </a:r>
        </a:p>
      </dgm:t>
    </dgm:pt>
    <dgm:pt modelId="{675EC152-EC54-6743-92F6-22A4CD25A76D}" type="parTrans" cxnId="{7A7808F7-036D-E14B-BF51-437DF1337C4F}">
      <dgm:prSet/>
      <dgm:spPr/>
      <dgm:t>
        <a:bodyPr/>
        <a:lstStyle/>
        <a:p>
          <a:endParaRPr lang="en-US"/>
        </a:p>
      </dgm:t>
    </dgm:pt>
    <dgm:pt modelId="{DCF8342D-5DEC-5B46-9FB0-F38922BDD4C8}" type="sibTrans" cxnId="{7A7808F7-036D-E14B-BF51-437DF1337C4F}">
      <dgm:prSet/>
      <dgm:spPr/>
      <dgm:t>
        <a:bodyPr/>
        <a:lstStyle/>
        <a:p>
          <a:endParaRPr lang="en-US"/>
        </a:p>
      </dgm:t>
    </dgm:pt>
    <dgm:pt modelId="{2BDD560E-259A-1043-B69F-4E50683D23B4}">
      <dgm:prSet phldrT="[Text]" custT="1"/>
      <dgm:spPr/>
      <dgm:t>
        <a:bodyPr/>
        <a:lstStyle/>
        <a:p>
          <a:r>
            <a:rPr lang="en-US" sz="1400" dirty="0"/>
            <a:t>Each workflow consists of one or more smart contracts, which represent the business logic in code files.</a:t>
          </a:r>
        </a:p>
      </dgm:t>
    </dgm:pt>
    <dgm:pt modelId="{AB896C38-77DF-EA4F-951C-9C08278E7A6C}" type="parTrans" cxnId="{8939B885-AA08-CC44-98A9-F0D04D593118}">
      <dgm:prSet/>
      <dgm:spPr/>
      <dgm:t>
        <a:bodyPr/>
        <a:lstStyle/>
        <a:p>
          <a:endParaRPr lang="en-US"/>
        </a:p>
      </dgm:t>
    </dgm:pt>
    <dgm:pt modelId="{F35080B0-4799-6B46-9CCD-695C96AA4106}" type="sibTrans" cxnId="{8939B885-AA08-CC44-98A9-F0D04D593118}">
      <dgm:prSet/>
      <dgm:spPr/>
      <dgm:t>
        <a:bodyPr/>
        <a:lstStyle/>
        <a:p>
          <a:endParaRPr lang="en-US"/>
        </a:p>
      </dgm:t>
    </dgm:pt>
    <dgm:pt modelId="{419EBB9F-C03F-A740-AC96-D56E80F9FA41}">
      <dgm:prSet phldrT="[Text]" custT="1"/>
      <dgm:spPr/>
      <dgm:t>
        <a:bodyPr/>
        <a:lstStyle/>
        <a:p>
          <a:r>
            <a:rPr lang="en-US" sz="1400" dirty="0"/>
            <a:t>Maps to the Available Actions on the previous slide</a:t>
          </a:r>
        </a:p>
      </dgm:t>
    </dgm:pt>
    <dgm:pt modelId="{0505B23F-4979-4A46-B41F-1BB468E4A874}" type="parTrans" cxnId="{DD238F8C-01D5-3241-B821-FC71580B2F78}">
      <dgm:prSet/>
      <dgm:spPr/>
      <dgm:t>
        <a:bodyPr/>
        <a:lstStyle/>
        <a:p>
          <a:endParaRPr lang="en-US"/>
        </a:p>
      </dgm:t>
    </dgm:pt>
    <dgm:pt modelId="{A45394D3-70AF-C84C-86C2-14E3CD07E290}" type="sibTrans" cxnId="{DD238F8C-01D5-3241-B821-FC71580B2F78}">
      <dgm:prSet/>
      <dgm:spPr/>
      <dgm:t>
        <a:bodyPr/>
        <a:lstStyle/>
        <a:p>
          <a:endParaRPr lang="en-US"/>
        </a:p>
      </dgm:t>
    </dgm:pt>
    <dgm:pt modelId="{D9559979-0B73-E640-90E8-C442F27E4284}">
      <dgm:prSet phldrT="[Text]" custT="1"/>
      <dgm:spPr/>
      <dgm:t>
        <a:bodyPr/>
        <a:lstStyle/>
        <a:p>
          <a:r>
            <a:rPr lang="en-US" sz="1400" dirty="0"/>
            <a:t>Maps to the current state and target state columns on the previous slide</a:t>
          </a:r>
        </a:p>
      </dgm:t>
    </dgm:pt>
    <dgm:pt modelId="{B8D5AC29-FC6A-B743-B6EF-798C17812C83}" type="parTrans" cxnId="{2F823051-3B38-024B-8320-EE4F3C1B0823}">
      <dgm:prSet/>
      <dgm:spPr/>
      <dgm:t>
        <a:bodyPr/>
        <a:lstStyle/>
        <a:p>
          <a:endParaRPr lang="en-US"/>
        </a:p>
      </dgm:t>
    </dgm:pt>
    <dgm:pt modelId="{0E886659-4D9F-D94F-AD11-82CB254D9D56}" type="sibTrans" cxnId="{2F823051-3B38-024B-8320-EE4F3C1B0823}">
      <dgm:prSet/>
      <dgm:spPr/>
      <dgm:t>
        <a:bodyPr/>
        <a:lstStyle/>
        <a:p>
          <a:endParaRPr lang="en-US"/>
        </a:p>
      </dgm:t>
    </dgm:pt>
    <dgm:pt modelId="{4DC0EBFF-FB11-7944-B7B9-BEDD77F14730}">
      <dgm:prSet phldrT="[Text]" custT="1"/>
      <dgm:spPr/>
      <dgm:t>
        <a:bodyPr/>
        <a:lstStyle/>
        <a:p>
          <a:r>
            <a:rPr lang="en-US" sz="1400" b="0" i="0" u="none" dirty="0"/>
            <a:t>Available actions to the next state</a:t>
          </a:r>
          <a:br>
            <a:rPr lang="en-US" sz="1400" b="0" i="0" u="none" dirty="0"/>
          </a:br>
          <a:endParaRPr lang="en-US" sz="1400" dirty="0"/>
        </a:p>
      </dgm:t>
    </dgm:pt>
    <dgm:pt modelId="{8EE52794-94D3-2848-863C-AE17D67CB247}" type="parTrans" cxnId="{910733E4-7DC3-AB45-BB60-EC5C5A340AA2}">
      <dgm:prSet/>
      <dgm:spPr/>
      <dgm:t>
        <a:bodyPr/>
        <a:lstStyle/>
        <a:p>
          <a:endParaRPr lang="en-US"/>
        </a:p>
      </dgm:t>
    </dgm:pt>
    <dgm:pt modelId="{22811381-C412-D048-8843-09483837A57F}" type="sibTrans" cxnId="{910733E4-7DC3-AB45-BB60-EC5C5A340AA2}">
      <dgm:prSet/>
      <dgm:spPr/>
      <dgm:t>
        <a:bodyPr/>
        <a:lstStyle/>
        <a:p>
          <a:endParaRPr lang="en-US"/>
        </a:p>
      </dgm:t>
    </dgm:pt>
    <dgm:pt modelId="{55772C64-5BD1-884E-8948-C8C5A62DC605}">
      <dgm:prSet phldrT="[Text]" custT="1"/>
      <dgm:spPr/>
      <dgm:t>
        <a:bodyPr/>
        <a:lstStyle/>
        <a:p>
          <a:r>
            <a:rPr lang="en-US" sz="1400" b="0" i="0" u="none" dirty="0"/>
            <a:t>One or more user roles may perform an action at each state, where an action may transition a state to another state in the workflow</a:t>
          </a:r>
          <a:endParaRPr lang="en-US" sz="1400" dirty="0"/>
        </a:p>
      </dgm:t>
    </dgm:pt>
    <dgm:pt modelId="{D6CB8975-DE2C-0C49-A83C-501FB5DCF132}" type="parTrans" cxnId="{3BDB6F51-50D3-9647-8E43-D5612CEE571E}">
      <dgm:prSet/>
      <dgm:spPr/>
      <dgm:t>
        <a:bodyPr/>
        <a:lstStyle/>
        <a:p>
          <a:endParaRPr lang="en-US"/>
        </a:p>
      </dgm:t>
    </dgm:pt>
    <dgm:pt modelId="{CDC13A5D-607C-9544-A548-798298B476AF}" type="sibTrans" cxnId="{3BDB6F51-50D3-9647-8E43-D5612CEE571E}">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B0D320FC-2E80-9243-9808-8FFF28CC6DAB}" type="pres">
      <dgm:prSet presAssocID="{72BFE7F6-A176-1B47-B070-566F06008D8C}" presName="composite" presStyleCnt="0"/>
      <dgm:spPr/>
    </dgm:pt>
    <dgm:pt modelId="{6C8C16B2-2954-C647-80EE-0BB68CE5C548}" type="pres">
      <dgm:prSet presAssocID="{72BFE7F6-A176-1B47-B070-566F06008D8C}" presName="parTx" presStyleLbl="alignNode1" presStyleIdx="0" presStyleCnt="6">
        <dgm:presLayoutVars>
          <dgm:chMax val="0"/>
          <dgm:chPref val="0"/>
          <dgm:bulletEnabled val="1"/>
        </dgm:presLayoutVars>
      </dgm:prSet>
      <dgm:spPr/>
    </dgm:pt>
    <dgm:pt modelId="{C2EE137D-227C-8B41-9CEF-F090A9F97D68}" type="pres">
      <dgm:prSet presAssocID="{72BFE7F6-A176-1B47-B070-566F06008D8C}" presName="desTx" presStyleLbl="alignAccFollowNode1" presStyleIdx="0" presStyleCnt="6">
        <dgm:presLayoutVars>
          <dgm:bulletEnabled val="1"/>
        </dgm:presLayoutVars>
      </dgm:prSet>
      <dgm:spPr/>
    </dgm:pt>
    <dgm:pt modelId="{A2464513-277E-0947-AAEF-04F6AE2F20A4}" type="pres">
      <dgm:prSet presAssocID="{AC214A4B-81DB-1847-BF7D-A045432B18AC}" presName="space" presStyleCnt="0"/>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1" presStyleCnt="6">
        <dgm:presLayoutVars>
          <dgm:chMax val="0"/>
          <dgm:chPref val="0"/>
          <dgm:bulletEnabled val="1"/>
        </dgm:presLayoutVars>
      </dgm:prSet>
      <dgm:spPr/>
    </dgm:pt>
    <dgm:pt modelId="{F4029437-CD94-9243-A4E6-230F610E13A7}" type="pres">
      <dgm:prSet presAssocID="{EF6F7FB3-D3E5-4548-BD1E-B72774CF5B92}" presName="desTx" presStyleLbl="alignAccFollowNode1" presStyleIdx="1" presStyleCnt="6">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2" presStyleCnt="6">
        <dgm:presLayoutVars>
          <dgm:chMax val="0"/>
          <dgm:chPref val="0"/>
          <dgm:bulletEnabled val="1"/>
        </dgm:presLayoutVars>
      </dgm:prSet>
      <dgm:spPr/>
    </dgm:pt>
    <dgm:pt modelId="{7186DE0A-A468-F844-8F3D-BC4EBCFEBA62}" type="pres">
      <dgm:prSet presAssocID="{2FB6C851-BFD2-3B40-A74C-E0990FBE416A}" presName="desTx" presStyleLbl="alignAccFollowNode1" presStyleIdx="2" presStyleCnt="6">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3" presStyleCnt="6">
        <dgm:presLayoutVars>
          <dgm:chMax val="0"/>
          <dgm:chPref val="0"/>
          <dgm:bulletEnabled val="1"/>
        </dgm:presLayoutVars>
      </dgm:prSet>
      <dgm:spPr/>
    </dgm:pt>
    <dgm:pt modelId="{2564D77F-41EC-7E4A-A245-9110782AA240}" type="pres">
      <dgm:prSet presAssocID="{EAA399BC-9721-B743-908A-4746BA10215A}" presName="desTx" presStyleLbl="alignAccFollowNode1" presStyleIdx="3" presStyleCnt="6">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4" presStyleCnt="6">
        <dgm:presLayoutVars>
          <dgm:chMax val="0"/>
          <dgm:chPref val="0"/>
          <dgm:bulletEnabled val="1"/>
        </dgm:presLayoutVars>
      </dgm:prSet>
      <dgm:spPr/>
    </dgm:pt>
    <dgm:pt modelId="{FDEEE735-727B-4C43-89AB-134B242C80FB}" type="pres">
      <dgm:prSet presAssocID="{4AC71D21-1492-3348-B7A6-5C2BCBD902D5}" presName="desTx" presStyleLbl="alignAccFollowNode1" presStyleIdx="4" presStyleCnt="6">
        <dgm:presLayoutVars>
          <dgm:bulletEnabled val="1"/>
        </dgm:presLayoutVars>
      </dgm:prSet>
      <dgm:spPr/>
    </dgm:pt>
    <dgm:pt modelId="{8CBF199C-592F-AD4C-BCD1-0F445E6DC00D}" type="pres">
      <dgm:prSet presAssocID="{EBA507D5-0C59-254B-A7F5-1D1427C5D840}" presName="space" presStyleCnt="0"/>
      <dgm:spPr/>
    </dgm:pt>
    <dgm:pt modelId="{24137B87-3789-D844-8C6A-C051303B27EA}" type="pres">
      <dgm:prSet presAssocID="{80FFFCBF-D80C-E747-9FB3-93483E5A3463}" presName="composite" presStyleCnt="0"/>
      <dgm:spPr/>
    </dgm:pt>
    <dgm:pt modelId="{95CEB0E8-8927-BF43-8014-0266F220DF5D}" type="pres">
      <dgm:prSet presAssocID="{80FFFCBF-D80C-E747-9FB3-93483E5A3463}" presName="parTx" presStyleLbl="alignNode1" presStyleIdx="5" presStyleCnt="6">
        <dgm:presLayoutVars>
          <dgm:chMax val="0"/>
          <dgm:chPref val="0"/>
          <dgm:bulletEnabled val="1"/>
        </dgm:presLayoutVars>
      </dgm:prSet>
      <dgm:spPr/>
    </dgm:pt>
    <dgm:pt modelId="{6CF2DC70-6E6F-0441-8D11-4FC560C5011F}" type="pres">
      <dgm:prSet presAssocID="{80FFFCBF-D80C-E747-9FB3-93483E5A3463}" presName="desTx" presStyleLbl="alignAccFollowNode1" presStyleIdx="5" presStyleCnt="6">
        <dgm:presLayoutVars>
          <dgm:bulletEnabled val="1"/>
        </dgm:presLayoutVars>
      </dgm:prSet>
      <dgm:spPr/>
    </dgm:pt>
  </dgm:ptLst>
  <dgm:cxnLst>
    <dgm:cxn modelId="{B832FA00-B44B-3547-806F-37DF15442267}" type="presOf" srcId="{74EEF99F-C04B-464D-AA6E-2ABE3105634C}" destId="{FDEEE735-727B-4C43-89AB-134B242C80FB}" srcOrd="0" destOrd="2" presId="urn:microsoft.com/office/officeart/2005/8/layout/hList1"/>
    <dgm:cxn modelId="{D927760D-AA96-5046-B45C-31EC7286B247}" srcId="{2FB6C851-BFD2-3B40-A74C-E0990FBE416A}" destId="{7F9CA40A-FB21-EB4C-90CE-2B1CFA54D562}" srcOrd="0" destOrd="0" parTransId="{FB56CC65-3174-5942-901F-78F5D60CB511}" sibTransId="{26F71CCA-6513-B64B-9C8D-920A4BD6E55C}"/>
    <dgm:cxn modelId="{0627ED0F-9693-5541-A882-2F1BF1885277}" type="presOf" srcId="{2FB6C851-BFD2-3B40-A74C-E0990FBE416A}" destId="{8676B8BF-5D93-364A-B177-E7FD628083CA}" srcOrd="0" destOrd="0" presId="urn:microsoft.com/office/officeart/2005/8/layout/hList1"/>
    <dgm:cxn modelId="{B02B8213-A404-DF45-8319-3BC5C40E389E}" srcId="{EAA399BC-9721-B743-908A-4746BA10215A}" destId="{FDF5CD54-EA25-3942-956C-82E1908345B4}" srcOrd="0" destOrd="0" parTransId="{59CBB45F-ADCE-0B42-BA75-814208F7085B}" sibTransId="{2F47B318-1ACE-5C49-A4AA-991153F8B598}"/>
    <dgm:cxn modelId="{10A70716-29CE-FE44-BA03-48A47D324671}" srcId="{601D3C9A-68CD-1945-ADB7-DA2E05599C5A}" destId="{72BFE7F6-A176-1B47-B070-566F06008D8C}" srcOrd="0" destOrd="0" parTransId="{6296460E-5054-D444-AC51-E3DB89F21CCE}" sibTransId="{AC214A4B-81DB-1847-BF7D-A045432B18AC}"/>
    <dgm:cxn modelId="{12741625-C4BE-9146-AF75-0D64861D1EB2}" type="presOf" srcId="{3F6B1B6C-C2FD-1C47-8097-F4FA7254109B}" destId="{2564D77F-41EC-7E4A-A245-9110782AA240}" srcOrd="0" destOrd="1" presId="urn:microsoft.com/office/officeart/2005/8/layout/hList1"/>
    <dgm:cxn modelId="{214AEC25-2A3B-1A43-B0C9-5CECC3A466F0}" srcId="{601D3C9A-68CD-1945-ADB7-DA2E05599C5A}" destId="{EAA399BC-9721-B743-908A-4746BA10215A}" srcOrd="3" destOrd="0" parTransId="{9D19C632-3919-DE45-880A-E2AD016F0B25}" sibTransId="{68227547-BC39-C347-B8C5-E1BC84A76011}"/>
    <dgm:cxn modelId="{53EA6F34-717A-0C4E-8F53-E1DE64CD8FC2}" type="presOf" srcId="{EAA399BC-9721-B743-908A-4746BA10215A}" destId="{0F2E45FF-7FE9-FF49-8DB5-095D84C0F1B7}" srcOrd="0" destOrd="0" presId="urn:microsoft.com/office/officeart/2005/8/layout/hList1"/>
    <dgm:cxn modelId="{AC37683B-1BB7-9449-B703-7E5680EE93AA}" srcId="{72BFE7F6-A176-1B47-B070-566F06008D8C}" destId="{B0C1D075-519D-D541-B411-AA19E2440782}" srcOrd="2" destOrd="0" parTransId="{36D62F5A-F93E-114B-A35E-CBD70077A35D}" sibTransId="{028937EE-3E5F-3A42-B717-58AFEC735DDB}"/>
    <dgm:cxn modelId="{8E5F4E3B-55A3-1D4D-94BB-BDFBEEB5D40C}" type="presOf" srcId="{FDF5CD54-EA25-3942-956C-82E1908345B4}" destId="{2564D77F-41EC-7E4A-A245-9110782AA240}" srcOrd="0" destOrd="0" presId="urn:microsoft.com/office/officeart/2005/8/layout/hList1"/>
    <dgm:cxn modelId="{89DFD65B-02ED-4448-B722-A3F5F8E11187}" srcId="{4AC71D21-1492-3348-B7A6-5C2BCBD902D5}" destId="{3449CA0B-085B-7749-B88D-B2F1CBAE4B99}" srcOrd="0" destOrd="0" parTransId="{1C43AD30-7FC0-564B-A766-2458DF2E69E0}" sibTransId="{A09686E9-C949-9F4F-9A90-14AE7F054DF9}"/>
    <dgm:cxn modelId="{9F17495E-19D1-7D40-BCE4-17779A304E97}" type="presOf" srcId="{601D3C9A-68CD-1945-ADB7-DA2E05599C5A}" destId="{A0ED3AAA-DC34-4245-958B-1C17AB663406}" srcOrd="0" destOrd="0" presId="urn:microsoft.com/office/officeart/2005/8/layout/hList1"/>
    <dgm:cxn modelId="{566BC760-462F-1347-8C8C-1F9352B5FAB0}" srcId="{2FB6C851-BFD2-3B40-A74C-E0990FBE416A}" destId="{0572007E-4073-C647-B20C-6FBBED67E818}" srcOrd="1" destOrd="0" parTransId="{3E7BD8DD-63F0-534F-AC45-93135C8340A4}" sibTransId="{0D4E0869-FC29-F242-BDBC-3E8F1DE89E82}"/>
    <dgm:cxn modelId="{1CBE6244-D81F-D245-A2B7-A95AC4FF71EE}" type="presOf" srcId="{4DC0EBFF-FB11-7944-B7B9-BEDD77F14730}" destId="{6CF2DC70-6E6F-0441-8D11-4FC560C5011F}" srcOrd="0" destOrd="0" presId="urn:microsoft.com/office/officeart/2005/8/layout/hList1"/>
    <dgm:cxn modelId="{99D95444-5B44-3347-8C58-07D0DA2919E5}" type="presOf" srcId="{2BDD560E-259A-1043-B69F-4E50683D23B4}" destId="{F4029437-CD94-9243-A4E6-230F610E13A7}" srcOrd="0" destOrd="1" presId="urn:microsoft.com/office/officeart/2005/8/layout/hList1"/>
    <dgm:cxn modelId="{9C486367-1AE4-0348-93C0-F1DCE69ED173}" type="presOf" srcId="{DE0F52DB-5EE7-FE40-BFD8-0B4D5601F323}" destId="{C2EE137D-227C-8B41-9CEF-F090A9F97D68}" srcOrd="0" destOrd="1" presId="urn:microsoft.com/office/officeart/2005/8/layout/hList1"/>
    <dgm:cxn modelId="{5E989A67-E22B-8543-81CD-2142806C5753}" srcId="{72BFE7F6-A176-1B47-B070-566F06008D8C}" destId="{DE0F52DB-5EE7-FE40-BFD8-0B4D5601F323}" srcOrd="1" destOrd="0" parTransId="{2EB32924-DDAF-1540-BDE0-E456B7A9442F}" sibTransId="{D6307B99-4333-AF4D-BE11-26DE0D3F51A9}"/>
    <dgm:cxn modelId="{F6B7C667-F7D9-AE4C-B15E-F158C7A45FAF}" srcId="{EF6F7FB3-D3E5-4548-BD1E-B72774CF5B92}" destId="{61897AD0-23B2-154C-86D2-E400A5896A0E}" srcOrd="0" destOrd="0" parTransId="{2AFF3A5B-30E9-BF44-86B7-A93B6D95B237}" sibTransId="{EE034AE8-6B16-2D49-88B4-99C48610820A}"/>
    <dgm:cxn modelId="{769C4B4E-24E4-9F41-9608-FE4526AD66F9}" type="presOf" srcId="{3449CA0B-085B-7749-B88D-B2F1CBAE4B99}" destId="{FDEEE735-727B-4C43-89AB-134B242C80FB}" srcOrd="0" destOrd="0" presId="urn:microsoft.com/office/officeart/2005/8/layout/hList1"/>
    <dgm:cxn modelId="{2F823051-3B38-024B-8320-EE4F3C1B0823}" srcId="{4AC71D21-1492-3348-B7A6-5C2BCBD902D5}" destId="{D9559979-0B73-E640-90E8-C442F27E4284}" srcOrd="1" destOrd="0" parTransId="{B8D5AC29-FC6A-B743-B6EF-798C17812C83}" sibTransId="{0E886659-4D9F-D94F-AD11-82CB254D9D56}"/>
    <dgm:cxn modelId="{3BDB6F51-50D3-9647-8E43-D5612CEE571E}" srcId="{80FFFCBF-D80C-E747-9FB3-93483E5A3463}" destId="{55772C64-5BD1-884E-8948-C8C5A62DC605}" srcOrd="1" destOrd="0" parTransId="{D6CB8975-DE2C-0C49-A83C-501FB5DCF132}" sibTransId="{CDC13A5D-607C-9544-A548-798298B476AF}"/>
    <dgm:cxn modelId="{BE905F82-9FCC-004A-A0F6-A9FF26C784DD}" srcId="{EAA399BC-9721-B743-908A-4746BA10215A}" destId="{3F6B1B6C-C2FD-1C47-8097-F4FA7254109B}" srcOrd="1" destOrd="0" parTransId="{813B38D7-AB05-6B4C-8AF3-3347A563928B}" sibTransId="{AE024315-D86F-F54A-AE4D-969E581EC9AB}"/>
    <dgm:cxn modelId="{8939B885-AA08-CC44-98A9-F0D04D593118}" srcId="{EF6F7FB3-D3E5-4548-BD1E-B72774CF5B92}" destId="{2BDD560E-259A-1043-B69F-4E50683D23B4}" srcOrd="1" destOrd="0" parTransId="{AB896C38-77DF-EA4F-951C-9C08278E7A6C}" sibTransId="{F35080B0-4799-6B46-9CCD-695C96AA4106}"/>
    <dgm:cxn modelId="{8C386387-C1D4-1D4F-89C6-8384CD3BA9E1}" type="presOf" srcId="{7F9CA40A-FB21-EB4C-90CE-2B1CFA54D562}" destId="{7186DE0A-A468-F844-8F3D-BC4EBCFEBA62}" srcOrd="0" destOrd="0" presId="urn:microsoft.com/office/officeart/2005/8/layout/hList1"/>
    <dgm:cxn modelId="{5F32F18B-5F24-484F-8086-41258263B521}" srcId="{72BFE7F6-A176-1B47-B070-566F06008D8C}" destId="{77CE68CE-4744-1E48-9CD9-6762BE8CF3E5}" srcOrd="0" destOrd="0" parTransId="{5A2A8D0B-AF86-4B47-BA2A-4A9FCA5112F5}" sibTransId="{B4FF8DBE-ED9B-314D-A9D4-F739EBDA79FA}"/>
    <dgm:cxn modelId="{DD238F8C-01D5-3241-B821-FC71580B2F78}" srcId="{EAA399BC-9721-B743-908A-4746BA10215A}" destId="{419EBB9F-C03F-A740-AC96-D56E80F9FA41}" srcOrd="2" destOrd="0" parTransId="{0505B23F-4979-4A46-B41F-1BB468E4A874}" sibTransId="{A45394D3-70AF-C84C-86C2-14E3CD07E290}"/>
    <dgm:cxn modelId="{77FFF58D-858B-0547-BAD1-616902D27719}" srcId="{4AC71D21-1492-3348-B7A6-5C2BCBD902D5}" destId="{74EEF99F-C04B-464D-AA6E-2ABE3105634C}" srcOrd="2" destOrd="0" parTransId="{68EFC4DF-08A0-FF4E-B77B-D8305E73CB60}" sibTransId="{AB0610CE-253F-7B4E-AF5B-51EFA1DA3176}"/>
    <dgm:cxn modelId="{3DBAD693-BC74-6743-87FB-1D5EF5A6893F}" type="presOf" srcId="{B0C1D075-519D-D541-B411-AA19E2440782}" destId="{C2EE137D-227C-8B41-9CEF-F090A9F97D68}" srcOrd="0" destOrd="2" presId="urn:microsoft.com/office/officeart/2005/8/layout/hList1"/>
    <dgm:cxn modelId="{3626C794-6EC5-E049-BA04-83A85EFD6422}" srcId="{72BFE7F6-A176-1B47-B070-566F06008D8C}" destId="{977BF214-530D-E541-B1C2-2A1FBB2286CD}" srcOrd="3" destOrd="0" parTransId="{256354CA-5B13-944D-9191-EC46D2346C65}" sibTransId="{9E0DD595-6F2F-6341-B7B8-41C7CD55033C}"/>
    <dgm:cxn modelId="{3A050897-5ABB-B34D-B5AC-89D2FF4951A1}" type="presOf" srcId="{D9559979-0B73-E640-90E8-C442F27E4284}" destId="{FDEEE735-727B-4C43-89AB-134B242C80FB}" srcOrd="0" destOrd="1" presId="urn:microsoft.com/office/officeart/2005/8/layout/hList1"/>
    <dgm:cxn modelId="{814C29A0-6C09-4747-8685-2C1D24305930}" type="presOf" srcId="{72BFE7F6-A176-1B47-B070-566F06008D8C}" destId="{6C8C16B2-2954-C647-80EE-0BB68CE5C548}" srcOrd="0" destOrd="0" presId="urn:microsoft.com/office/officeart/2005/8/layout/hList1"/>
    <dgm:cxn modelId="{4E5E23AE-F847-F245-B4D9-A1C962CFFF26}" srcId="{601D3C9A-68CD-1945-ADB7-DA2E05599C5A}" destId="{2FB6C851-BFD2-3B40-A74C-E0990FBE416A}" srcOrd="2" destOrd="0" parTransId="{69ED7902-97D8-9649-A75F-28025A394F19}" sibTransId="{D8C50E35-3552-B448-B86F-D91AA94E1D78}"/>
    <dgm:cxn modelId="{45EA61AF-A35A-2940-92CD-23E49862A05D}" type="presOf" srcId="{EF6F7FB3-D3E5-4548-BD1E-B72774CF5B92}" destId="{F559DA8F-9B70-E042-87E3-BAA2CDF72A58}" srcOrd="0" destOrd="0" presId="urn:microsoft.com/office/officeart/2005/8/layout/hList1"/>
    <dgm:cxn modelId="{83CB9CB0-E72E-874D-9CBA-3C6EAC870F73}" type="presOf" srcId="{0572007E-4073-C647-B20C-6FBBED67E818}" destId="{7186DE0A-A468-F844-8F3D-BC4EBCFEBA62}" srcOrd="0" destOrd="1" presId="urn:microsoft.com/office/officeart/2005/8/layout/hList1"/>
    <dgm:cxn modelId="{DE3174B8-B8B2-AC48-9AB4-80E8937DFB44}" type="presOf" srcId="{61897AD0-23B2-154C-86D2-E400A5896A0E}" destId="{F4029437-CD94-9243-A4E6-230F610E13A7}" srcOrd="0" destOrd="0" presId="urn:microsoft.com/office/officeart/2005/8/layout/hList1"/>
    <dgm:cxn modelId="{789668BE-3D51-284E-9247-5641DB654EEC}" type="presOf" srcId="{55772C64-5BD1-884E-8948-C8C5A62DC605}" destId="{6CF2DC70-6E6F-0441-8D11-4FC560C5011F}" srcOrd="0" destOrd="1" presId="urn:microsoft.com/office/officeart/2005/8/layout/hList1"/>
    <dgm:cxn modelId="{C926C7C9-D26C-EB45-8190-82A256F827A2}" srcId="{601D3C9A-68CD-1945-ADB7-DA2E05599C5A}" destId="{EF6F7FB3-D3E5-4548-BD1E-B72774CF5B92}" srcOrd="1" destOrd="0" parTransId="{45730361-F738-1D4E-A3C5-411A94807EC9}" sibTransId="{3EE142BA-28AD-B148-A13A-EC6787931D89}"/>
    <dgm:cxn modelId="{D73A96D0-6EDE-6A41-9045-29B881487519}" type="presOf" srcId="{419EBB9F-C03F-A740-AC96-D56E80F9FA41}" destId="{2564D77F-41EC-7E4A-A245-9110782AA240}" srcOrd="0" destOrd="2" presId="urn:microsoft.com/office/officeart/2005/8/layout/hList1"/>
    <dgm:cxn modelId="{E526FCD6-C884-6845-85BA-6FBF5C07571C}" type="presOf" srcId="{80FFFCBF-D80C-E747-9FB3-93483E5A3463}" destId="{95CEB0E8-8927-BF43-8014-0266F220DF5D}" srcOrd="0" destOrd="0" presId="urn:microsoft.com/office/officeart/2005/8/layout/hList1"/>
    <dgm:cxn modelId="{FEA611DE-5FEF-F141-A4F0-BDDD9957A3E2}" type="presOf" srcId="{4AC71D21-1492-3348-B7A6-5C2BCBD902D5}" destId="{0E32FB3D-56EA-B24A-9E94-469C9E603473}" srcOrd="0" destOrd="0" presId="urn:microsoft.com/office/officeart/2005/8/layout/hList1"/>
    <dgm:cxn modelId="{8AB1B6DF-A149-EB42-A297-A938F4969B7A}" type="presOf" srcId="{77CE68CE-4744-1E48-9CD9-6762BE8CF3E5}" destId="{C2EE137D-227C-8B41-9CEF-F090A9F97D68}" srcOrd="0" destOrd="0" presId="urn:microsoft.com/office/officeart/2005/8/layout/hList1"/>
    <dgm:cxn modelId="{0A96F4E2-0820-604D-8661-78D462D50E4B}" type="presOf" srcId="{977BF214-530D-E541-B1C2-2A1FBB2286CD}" destId="{C2EE137D-227C-8B41-9CEF-F090A9F97D68}" srcOrd="0" destOrd="3" presId="urn:microsoft.com/office/officeart/2005/8/layout/hList1"/>
    <dgm:cxn modelId="{E8F1C6E3-BD50-2E47-B102-7401C727B357}" srcId="{601D3C9A-68CD-1945-ADB7-DA2E05599C5A}" destId="{4AC71D21-1492-3348-B7A6-5C2BCBD902D5}" srcOrd="4" destOrd="0" parTransId="{9402E8AD-84FA-DD4F-859F-CDEB1436E7F3}" sibTransId="{EBA507D5-0C59-254B-A7F5-1D1427C5D840}"/>
    <dgm:cxn modelId="{910733E4-7DC3-AB45-BB60-EC5C5A340AA2}" srcId="{80FFFCBF-D80C-E747-9FB3-93483E5A3463}" destId="{4DC0EBFF-FB11-7944-B7B9-BEDD77F14730}" srcOrd="0" destOrd="0" parTransId="{8EE52794-94D3-2848-863C-AE17D67CB247}" sibTransId="{22811381-C412-D048-8843-09483837A57F}"/>
    <dgm:cxn modelId="{D1CA85E7-3137-7F44-8F2A-D0E48A007E49}" type="presOf" srcId="{43F2E7D0-3E74-B845-BE41-42DB0FACEA8B}" destId="{C2EE137D-227C-8B41-9CEF-F090A9F97D68}" srcOrd="0" destOrd="4" presId="urn:microsoft.com/office/officeart/2005/8/layout/hList1"/>
    <dgm:cxn modelId="{D39492EB-3035-754B-8D64-1AE51287BD5E}" srcId="{601D3C9A-68CD-1945-ADB7-DA2E05599C5A}" destId="{80FFFCBF-D80C-E747-9FB3-93483E5A3463}" srcOrd="5" destOrd="0" parTransId="{FA0FC2D7-8BF9-8640-90C1-8FE764979180}" sibTransId="{B631F706-114F-6B4B-B377-0D22CADAC5BE}"/>
    <dgm:cxn modelId="{7A7808F7-036D-E14B-BF51-437DF1337C4F}" srcId="{72BFE7F6-A176-1B47-B070-566F06008D8C}" destId="{43F2E7D0-3E74-B845-BE41-42DB0FACEA8B}" srcOrd="4" destOrd="0" parTransId="{675EC152-EC54-6743-92F6-22A4CD25A76D}" sibTransId="{DCF8342D-5DEC-5B46-9FB0-F38922BDD4C8}"/>
    <dgm:cxn modelId="{26F15B3B-6FA4-DF42-8BEB-8F2844D9AA6B}" type="presParOf" srcId="{A0ED3AAA-DC34-4245-958B-1C17AB663406}" destId="{B0D320FC-2E80-9243-9808-8FFF28CC6DAB}" srcOrd="0" destOrd="0" presId="urn:microsoft.com/office/officeart/2005/8/layout/hList1"/>
    <dgm:cxn modelId="{7D23E1E9-4379-A145-9BAA-ADD3237ABA4E}" type="presParOf" srcId="{B0D320FC-2E80-9243-9808-8FFF28CC6DAB}" destId="{6C8C16B2-2954-C647-80EE-0BB68CE5C548}" srcOrd="0" destOrd="0" presId="urn:microsoft.com/office/officeart/2005/8/layout/hList1"/>
    <dgm:cxn modelId="{742CCAC1-1E6F-BE4E-BFFF-E21039508625}" type="presParOf" srcId="{B0D320FC-2E80-9243-9808-8FFF28CC6DAB}" destId="{C2EE137D-227C-8B41-9CEF-F090A9F97D68}" srcOrd="1" destOrd="0" presId="urn:microsoft.com/office/officeart/2005/8/layout/hList1"/>
    <dgm:cxn modelId="{2CDD8F12-BFEF-5C44-A282-5AB84183E091}" type="presParOf" srcId="{A0ED3AAA-DC34-4245-958B-1C17AB663406}" destId="{A2464513-277E-0947-AAEF-04F6AE2F20A4}" srcOrd="1" destOrd="0" presId="urn:microsoft.com/office/officeart/2005/8/layout/hList1"/>
    <dgm:cxn modelId="{27DB31B9-E2CC-F444-9FEA-5C0A00D6CE2E}" type="presParOf" srcId="{A0ED3AAA-DC34-4245-958B-1C17AB663406}" destId="{69D527AC-4091-1346-A593-21DCC20F4CD2}" srcOrd="2" destOrd="0" presId="urn:microsoft.com/office/officeart/2005/8/layout/hList1"/>
    <dgm:cxn modelId="{D644F67B-A30C-DA44-AE4E-0828F2793C72}" type="presParOf" srcId="{69D527AC-4091-1346-A593-21DCC20F4CD2}" destId="{F559DA8F-9B70-E042-87E3-BAA2CDF72A58}" srcOrd="0" destOrd="0" presId="urn:microsoft.com/office/officeart/2005/8/layout/hList1"/>
    <dgm:cxn modelId="{5C71BC52-BA5A-F447-A1FB-54F97D8A1471}" type="presParOf" srcId="{69D527AC-4091-1346-A593-21DCC20F4CD2}" destId="{F4029437-CD94-9243-A4E6-230F610E13A7}" srcOrd="1" destOrd="0" presId="urn:microsoft.com/office/officeart/2005/8/layout/hList1"/>
    <dgm:cxn modelId="{A38255A0-0F21-9B4E-A4BA-68EBFB8AE28D}" type="presParOf" srcId="{A0ED3AAA-DC34-4245-958B-1C17AB663406}" destId="{11938A7F-2459-F64D-895E-B6AD2A84019D}" srcOrd="3" destOrd="0" presId="urn:microsoft.com/office/officeart/2005/8/layout/hList1"/>
    <dgm:cxn modelId="{0D6E30A7-A566-9B41-9191-83E96569B5FB}" type="presParOf" srcId="{A0ED3AAA-DC34-4245-958B-1C17AB663406}" destId="{2951423E-C911-9B43-ADFF-461A2AFE3377}" srcOrd="4" destOrd="0" presId="urn:microsoft.com/office/officeart/2005/8/layout/hList1"/>
    <dgm:cxn modelId="{8844B4FD-8CC7-CB45-AD43-816E68850364}" type="presParOf" srcId="{2951423E-C911-9B43-ADFF-461A2AFE3377}" destId="{8676B8BF-5D93-364A-B177-E7FD628083CA}" srcOrd="0" destOrd="0" presId="urn:microsoft.com/office/officeart/2005/8/layout/hList1"/>
    <dgm:cxn modelId="{A22EC359-DDC2-6547-9D3A-1D94DC626AC9}" type="presParOf" srcId="{2951423E-C911-9B43-ADFF-461A2AFE3377}" destId="{7186DE0A-A468-F844-8F3D-BC4EBCFEBA62}" srcOrd="1" destOrd="0" presId="urn:microsoft.com/office/officeart/2005/8/layout/hList1"/>
    <dgm:cxn modelId="{41C1E68A-4728-B048-AB05-753CB671C52A}" type="presParOf" srcId="{A0ED3AAA-DC34-4245-958B-1C17AB663406}" destId="{3AC3ACB8-807E-604C-8E3A-3CD69377C72A}" srcOrd="5" destOrd="0" presId="urn:microsoft.com/office/officeart/2005/8/layout/hList1"/>
    <dgm:cxn modelId="{FC26FC8D-D2E7-FB4A-B6FA-9418DECC2EB2}" type="presParOf" srcId="{A0ED3AAA-DC34-4245-958B-1C17AB663406}" destId="{95B24CD4-4F2F-AE4E-BB09-A3D301E9DD1F}" srcOrd="6" destOrd="0" presId="urn:microsoft.com/office/officeart/2005/8/layout/hList1"/>
    <dgm:cxn modelId="{13F8A35A-7E6A-6D49-97F5-744634F510F0}" type="presParOf" srcId="{95B24CD4-4F2F-AE4E-BB09-A3D301E9DD1F}" destId="{0F2E45FF-7FE9-FF49-8DB5-095D84C0F1B7}" srcOrd="0" destOrd="0" presId="urn:microsoft.com/office/officeart/2005/8/layout/hList1"/>
    <dgm:cxn modelId="{98DF372C-0A25-C44B-80F4-801DCA4A3277}" type="presParOf" srcId="{95B24CD4-4F2F-AE4E-BB09-A3D301E9DD1F}" destId="{2564D77F-41EC-7E4A-A245-9110782AA240}" srcOrd="1" destOrd="0" presId="urn:microsoft.com/office/officeart/2005/8/layout/hList1"/>
    <dgm:cxn modelId="{7EC1BE33-09DC-C644-B9DE-3476C2193269}" type="presParOf" srcId="{A0ED3AAA-DC34-4245-958B-1C17AB663406}" destId="{9C501F13-EA3C-4147-AD30-2F4EFBDDBF6D}" srcOrd="7" destOrd="0" presId="urn:microsoft.com/office/officeart/2005/8/layout/hList1"/>
    <dgm:cxn modelId="{4E3CE64F-8BC8-EA4D-81CC-1AEA6FBFFEE1}" type="presParOf" srcId="{A0ED3AAA-DC34-4245-958B-1C17AB663406}" destId="{327C4128-FFE2-EA43-9A30-3D5C39C803F1}" srcOrd="8" destOrd="0" presId="urn:microsoft.com/office/officeart/2005/8/layout/hList1"/>
    <dgm:cxn modelId="{EAD872FA-5FFB-3847-B6EB-F658707A1371}" type="presParOf" srcId="{327C4128-FFE2-EA43-9A30-3D5C39C803F1}" destId="{0E32FB3D-56EA-B24A-9E94-469C9E603473}" srcOrd="0" destOrd="0" presId="urn:microsoft.com/office/officeart/2005/8/layout/hList1"/>
    <dgm:cxn modelId="{BDD25EB3-A986-2146-A8BF-C0D00B80200F}" type="presParOf" srcId="{327C4128-FFE2-EA43-9A30-3D5C39C803F1}" destId="{FDEEE735-727B-4C43-89AB-134B242C80FB}" srcOrd="1" destOrd="0" presId="urn:microsoft.com/office/officeart/2005/8/layout/hList1"/>
    <dgm:cxn modelId="{13CE9D1E-DFCC-0449-B3BF-7114872462E2}" type="presParOf" srcId="{A0ED3AAA-DC34-4245-958B-1C17AB663406}" destId="{8CBF199C-592F-AD4C-BCD1-0F445E6DC00D}" srcOrd="9" destOrd="0" presId="urn:microsoft.com/office/officeart/2005/8/layout/hList1"/>
    <dgm:cxn modelId="{EEDFA957-DC95-2A4E-8B33-3670A0AE773B}" type="presParOf" srcId="{A0ED3AAA-DC34-4245-958B-1C17AB663406}" destId="{24137B87-3789-D844-8C6A-C051303B27EA}" srcOrd="10" destOrd="0" presId="urn:microsoft.com/office/officeart/2005/8/layout/hList1"/>
    <dgm:cxn modelId="{A9BE80EE-DC26-DC4A-80FF-3EC7ACE6B478}" type="presParOf" srcId="{24137B87-3789-D844-8C6A-C051303B27EA}" destId="{95CEB0E8-8927-BF43-8014-0266F220DF5D}" srcOrd="0" destOrd="0" presId="urn:microsoft.com/office/officeart/2005/8/layout/hList1"/>
    <dgm:cxn modelId="{D449B303-3668-B94D-81FD-358B074D11F1}" type="presParOf" srcId="{24137B87-3789-D844-8C6A-C051303B27EA}" destId="{6CF2DC70-6E6F-0441-8D11-4FC560C5011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1B5B7AFB-57D0-C24C-A786-43096A5AC225}">
      <dgm:prSet phldrT="[Text]" custT="1"/>
      <dgm:spPr/>
      <dgm:t>
        <a:bodyPr/>
        <a:lstStyle/>
        <a:p>
          <a:r>
            <a:rPr lang="en-US" sz="1200" b="0" i="0" u="none" dirty="0"/>
            <a:t>The number, order, and type of parameters must match in both files. </a:t>
          </a:r>
          <a:endParaRPr lang="en-US" sz="1200" dirty="0"/>
        </a:p>
      </dgm:t>
    </dgm:pt>
    <dgm:pt modelId="{32186EC6-F23F-5E4C-B07A-FA236FDEBBB8}" type="parTrans" cxnId="{8634D0B5-E374-B24C-84F7-AA700BBFCA41}">
      <dgm:prSet/>
      <dgm:spPr/>
      <dgm:t>
        <a:bodyPr/>
        <a:lstStyle/>
        <a:p>
          <a:endParaRPr lang="en-US"/>
        </a:p>
      </dgm:t>
    </dgm:pt>
    <dgm:pt modelId="{5440F09A-A7D1-C148-BC9C-43BB1414766E}" type="sibTrans" cxnId="{8634D0B5-E374-B24C-84F7-AA700BBFCA41}">
      <dgm:prSet/>
      <dgm:spPr/>
      <dgm:t>
        <a:bodyPr/>
        <a:lstStyle/>
        <a:p>
          <a:endParaRPr lang="en-US"/>
        </a:p>
      </dgm:t>
    </dgm:pt>
    <dgm:pt modelId="{EF6F7FB3-D3E5-4548-BD1E-B72774CF5B92}">
      <dgm:prSet phldrT="[Text]"/>
      <dgm:spPr/>
      <dgm:t>
        <a:bodyPr/>
        <a:lstStyle/>
        <a:p>
          <a:r>
            <a:rPr lang="en-US" dirty="0"/>
            <a:t>Contract</a:t>
          </a:r>
        </a:p>
      </dgm:t>
    </dgm:pt>
    <dgm:pt modelId="{45730361-F738-1D4E-A3C5-411A94807EC9}" type="parTrans" cxnId="{E911279A-9906-4198-B6D2-AA93DF303D9E}">
      <dgm:prSet/>
      <dgm:spPr/>
      <dgm:t>
        <a:bodyPr/>
        <a:lstStyle/>
        <a:p>
          <a:endParaRPr lang="en-US"/>
        </a:p>
      </dgm:t>
    </dgm:pt>
    <dgm:pt modelId="{3EE142BA-28AD-B148-A13A-EC6787931D89}" type="sibTrans" cxnId="{E911279A-9906-4198-B6D2-AA93DF303D9E}">
      <dgm:prSet/>
      <dgm:spPr/>
      <dgm:t>
        <a:bodyPr/>
        <a:lstStyle/>
        <a:p>
          <a:endParaRPr lang="en-US"/>
        </a:p>
      </dgm:t>
    </dgm:pt>
    <dgm:pt modelId="{00915C91-2BAC-CB44-9FA5-FC2883C261E5}">
      <dgm:prSet custT="1"/>
      <dgm:spPr/>
      <dgm:t>
        <a:bodyPr/>
        <a:lstStyle/>
        <a:p>
          <a:r>
            <a:rPr lang="en-US" sz="1200" dirty="0"/>
            <a:t>Pass the application name and the workflow name as arguments</a:t>
          </a:r>
        </a:p>
      </dgm:t>
    </dgm:pt>
    <dgm:pt modelId="{3659585A-5D96-424C-8A2E-8A3687C2367C}" type="parTrans" cxnId="{B6D8BAE8-FF5F-47B8-9570-4CBAC22C1694}">
      <dgm:prSet/>
      <dgm:spPr/>
      <dgm:t>
        <a:bodyPr/>
        <a:lstStyle/>
        <a:p>
          <a:endParaRPr lang="en-US"/>
        </a:p>
      </dgm:t>
    </dgm:pt>
    <dgm:pt modelId="{2270BCC6-9E2B-4C4C-BCD4-A223C629D2A8}" type="sibTrans" cxnId="{B6D8BAE8-FF5F-47B8-9570-4CBAC22C1694}">
      <dgm:prSet/>
      <dgm:spPr/>
      <dgm:t>
        <a:bodyPr/>
        <a:lstStyle/>
        <a:p>
          <a:endParaRPr lang="en-US"/>
        </a:p>
      </dgm:t>
    </dgm:pt>
    <dgm:pt modelId="{EE74E1FD-36DB-DD46-BF13-76B65F0AC30D}">
      <dgm:prSet custT="1"/>
      <dgm:spPr/>
      <dgm:t>
        <a:bodyPr/>
        <a:lstStyle/>
        <a:p>
          <a:endParaRPr lang="en-US" sz="1200" dirty="0"/>
        </a:p>
      </dgm:t>
    </dgm:pt>
    <dgm:pt modelId="{281854AB-1940-9640-91D9-010541892070}" type="parTrans" cxnId="{3964E694-E239-4D06-B33B-9AB4C0BF4AEB}">
      <dgm:prSet/>
      <dgm:spPr/>
      <dgm:t>
        <a:bodyPr/>
        <a:lstStyle/>
        <a:p>
          <a:endParaRPr lang="en-US"/>
        </a:p>
      </dgm:t>
    </dgm:pt>
    <dgm:pt modelId="{F5279980-9FF2-C045-884E-BE776457C196}" type="sibTrans" cxnId="{3964E694-E239-4D06-B33B-9AB4C0BF4AEB}">
      <dgm:prSet/>
      <dgm:spPr/>
      <dgm:t>
        <a:bodyPr/>
        <a:lstStyle/>
        <a:p>
          <a:endParaRPr lang="en-US"/>
        </a:p>
      </dgm:t>
    </dgm:pt>
    <dgm:pt modelId="{6117F474-1AD4-E141-93EE-43518BA761D0}">
      <dgm:prSet custT="1"/>
      <dgm:spPr/>
      <dgm:t>
        <a:bodyPr/>
        <a:lstStyle/>
        <a:p>
          <a:r>
            <a:rPr lang="en-US" sz="1200" dirty="0"/>
            <a:t>1:1 relationship between contracts and config files </a:t>
          </a:r>
        </a:p>
      </dgm:t>
    </dgm:pt>
    <dgm:pt modelId="{154DB7A4-8083-F649-91AF-57B30B11431B}" type="parTrans" cxnId="{7D341069-F728-421F-ADCB-EC2C17F47AD9}">
      <dgm:prSet/>
      <dgm:spPr/>
      <dgm:t>
        <a:bodyPr/>
        <a:lstStyle/>
        <a:p>
          <a:endParaRPr lang="en-US"/>
        </a:p>
      </dgm:t>
    </dgm:pt>
    <dgm:pt modelId="{53EB06E2-B7B4-B24B-8369-1DCCB801E6BD}" type="sibTrans" cxnId="{7D341069-F728-421F-ADCB-EC2C17F47AD9}">
      <dgm:prSet/>
      <dgm:spPr/>
      <dgm:t>
        <a:bodyPr/>
        <a:lstStyle/>
        <a:p>
          <a:endParaRPr lang="en-US"/>
        </a:p>
      </dgm:t>
    </dgm:pt>
    <dgm:pt modelId="{E307C5A6-904E-1343-979E-725A9F8FF469}">
      <dgm:prSet custT="1"/>
      <dgm:spPr/>
      <dgm:t>
        <a:bodyPr/>
        <a:lstStyle/>
        <a:p>
          <a:endParaRPr lang="en-US" sz="1200" dirty="0"/>
        </a:p>
      </dgm:t>
    </dgm:pt>
    <dgm:pt modelId="{E69A362D-31C4-5643-9D0E-649F4C0B00CF}" type="parTrans" cxnId="{132D4199-0DE0-43F7-A8BE-B628780E5A42}">
      <dgm:prSet/>
      <dgm:spPr/>
      <dgm:t>
        <a:bodyPr/>
        <a:lstStyle/>
        <a:p>
          <a:endParaRPr lang="en-US"/>
        </a:p>
      </dgm:t>
    </dgm:pt>
    <dgm:pt modelId="{44B053BC-D2FA-7741-B6F2-E2D2781B7CC5}" type="sibTrans" cxnId="{132D4199-0DE0-43F7-A8BE-B628780E5A42}">
      <dgm:prSet/>
      <dgm:spPr/>
      <dgm:t>
        <a:bodyPr/>
        <a:lstStyle/>
        <a:p>
          <a:endParaRPr lang="en-US"/>
        </a:p>
      </dgm:t>
    </dgm:pt>
    <dgm:pt modelId="{0B5810C7-3373-0940-9DA0-77F9BAD20039}">
      <dgm:prSet custT="1"/>
      <dgm:spPr/>
      <dgm:t>
        <a:bodyPr/>
        <a:lstStyle/>
        <a:p>
          <a:r>
            <a:rPr lang="en-US" sz="1200" dirty="0"/>
            <a:t>Name matching required</a:t>
          </a:r>
        </a:p>
      </dgm:t>
    </dgm:pt>
    <dgm:pt modelId="{1074E96E-3C25-BF41-BE46-317BB44DD0E1}" type="parTrans" cxnId="{120F3A93-1EAC-49C6-B3BD-DC779026E2A1}">
      <dgm:prSet/>
      <dgm:spPr/>
      <dgm:t>
        <a:bodyPr/>
        <a:lstStyle/>
        <a:p>
          <a:endParaRPr lang="en-US"/>
        </a:p>
      </dgm:t>
    </dgm:pt>
    <dgm:pt modelId="{E977F061-804B-5244-A884-6E2795799812}" type="sibTrans" cxnId="{120F3A93-1EAC-49C6-B3BD-DC779026E2A1}">
      <dgm:prSet/>
      <dgm:spPr/>
      <dgm:t>
        <a:bodyPr/>
        <a:lstStyle/>
        <a:p>
          <a:endParaRPr lang="en-US"/>
        </a:p>
      </dgm:t>
    </dgm:pt>
    <dgm:pt modelId="{CECDF376-691C-C44B-B0DD-0F70BA2E24CB}">
      <dgm:prSet custT="1"/>
      <dgm:spPr/>
      <dgm:t>
        <a:bodyPr/>
        <a:lstStyle/>
        <a:p>
          <a:endParaRPr lang="en-US" sz="1400" dirty="0"/>
        </a:p>
      </dgm:t>
    </dgm:pt>
    <dgm:pt modelId="{CE7163BD-01C1-9A4E-B5E0-B56A9F744374}" type="parTrans" cxnId="{D0399F5D-2F34-437A-A81F-0A125CA5F925}">
      <dgm:prSet/>
      <dgm:spPr/>
      <dgm:t>
        <a:bodyPr/>
        <a:lstStyle/>
        <a:p>
          <a:endParaRPr lang="en-US"/>
        </a:p>
      </dgm:t>
    </dgm:pt>
    <dgm:pt modelId="{8E30113C-80AA-8645-A0A3-DB636CFE456E}" type="sibTrans" cxnId="{D0399F5D-2F34-437A-A81F-0A125CA5F925}">
      <dgm:prSet/>
      <dgm:spPr/>
      <dgm:t>
        <a:bodyPr/>
        <a:lstStyle/>
        <a:p>
          <a:endParaRPr lang="en-US"/>
        </a:p>
      </dgm:t>
    </dgm:pt>
    <dgm:pt modelId="{B91B23CD-F7DF-CF4C-AA96-C5AE11072FEB}">
      <dgm:prSet custT="1"/>
      <dgm:spPr/>
      <dgm:t>
        <a:bodyPr/>
        <a:lstStyle/>
        <a:p>
          <a:endParaRPr lang="en-US" sz="1400" dirty="0"/>
        </a:p>
      </dgm:t>
    </dgm:pt>
    <dgm:pt modelId="{47E11246-F866-CA4C-81FD-1C2892219D62}" type="parTrans" cxnId="{D389084E-6796-4734-940D-BA8ABAD6DDAF}">
      <dgm:prSet/>
      <dgm:spPr/>
      <dgm:t>
        <a:bodyPr/>
        <a:lstStyle/>
        <a:p>
          <a:endParaRPr lang="en-US"/>
        </a:p>
      </dgm:t>
    </dgm:pt>
    <dgm:pt modelId="{E794840E-11F5-7446-B800-5B716BED825D}" type="sibTrans" cxnId="{D389084E-6796-4734-940D-BA8ABAD6DDAF}">
      <dgm:prSet/>
      <dgm:spPr/>
      <dgm:t>
        <a:bodyPr/>
        <a:lstStyle/>
        <a:p>
          <a:endParaRPr lang="en-US"/>
        </a:p>
      </dgm:t>
    </dgm:pt>
    <dgm:pt modelId="{2FB6C851-BFD2-3B40-A74C-E0990FBE416A}">
      <dgm:prSet phldrT="[Text]"/>
      <dgm:spPr/>
      <dgm:t>
        <a:bodyPr/>
        <a:lstStyle/>
        <a:p>
          <a:r>
            <a:rPr lang="en-US" dirty="0"/>
            <a:t>State Variables</a:t>
          </a:r>
        </a:p>
      </dgm:t>
    </dgm:pt>
    <dgm:pt modelId="{69ED7902-97D8-9649-A75F-28025A394F19}" type="parTrans" cxnId="{A12CCD91-69DF-4DF3-AF8C-5E575A3DB190}">
      <dgm:prSet/>
      <dgm:spPr/>
      <dgm:t>
        <a:bodyPr/>
        <a:lstStyle/>
        <a:p>
          <a:endParaRPr lang="en-US"/>
        </a:p>
      </dgm:t>
    </dgm:pt>
    <dgm:pt modelId="{D8C50E35-3552-B448-B86F-D91AA94E1D78}" type="sibTrans" cxnId="{A12CCD91-69DF-4DF3-AF8C-5E575A3DB190}">
      <dgm:prSet/>
      <dgm:spPr/>
      <dgm:t>
        <a:bodyPr/>
        <a:lstStyle/>
        <a:p>
          <a:endParaRPr lang="en-US"/>
        </a:p>
      </dgm:t>
    </dgm:pt>
    <dgm:pt modelId="{7F9CA40A-FB21-EB4C-90CE-2B1CFA54D562}">
      <dgm:prSet phldrT="[Text]" custT="1"/>
      <dgm:spPr/>
      <dgm:t>
        <a:bodyPr/>
        <a:lstStyle/>
        <a:p>
          <a:r>
            <a:rPr lang="en-US" sz="1200" dirty="0"/>
            <a:t>State variables store values of the state for each contract instance</a:t>
          </a:r>
          <a:br>
            <a:rPr lang="en-US" sz="1200" dirty="0"/>
          </a:br>
          <a:endParaRPr lang="en-US" sz="1200" dirty="0"/>
        </a:p>
      </dgm:t>
    </dgm:pt>
    <dgm:pt modelId="{FB56CC65-3174-5942-901F-78F5D60CB511}" type="parTrans" cxnId="{C22C94DD-2B5D-4447-900D-3D686D15BA50}">
      <dgm:prSet/>
      <dgm:spPr/>
      <dgm:t>
        <a:bodyPr/>
        <a:lstStyle/>
        <a:p>
          <a:endParaRPr lang="en-US"/>
        </a:p>
      </dgm:t>
    </dgm:pt>
    <dgm:pt modelId="{26F71CCA-6513-B64B-9C8D-920A4BD6E55C}" type="sibTrans" cxnId="{C22C94DD-2B5D-4447-900D-3D686D15BA50}">
      <dgm:prSet/>
      <dgm:spPr/>
      <dgm:t>
        <a:bodyPr/>
        <a:lstStyle/>
        <a:p>
          <a:endParaRPr lang="en-US"/>
        </a:p>
      </dgm:t>
    </dgm:pt>
    <dgm:pt modelId="{EC49F6C6-D997-084C-8612-2D46DD5A7176}">
      <dgm:prSet phldrT="[Text]" custT="1"/>
      <dgm:spPr/>
      <dgm:t>
        <a:bodyPr/>
        <a:lstStyle/>
        <a:p>
          <a:r>
            <a:rPr lang="en-US" sz="1200" dirty="0"/>
            <a:t>The state variables in your contract must match the workflow properties defined in the configuration file</a:t>
          </a:r>
        </a:p>
      </dgm:t>
    </dgm:pt>
    <dgm:pt modelId="{C75998B6-BE82-E547-ACB4-638FA3460B92}" type="parTrans" cxnId="{A334C210-71B1-40BC-81B0-9406C179F362}">
      <dgm:prSet/>
      <dgm:spPr/>
      <dgm:t>
        <a:bodyPr/>
        <a:lstStyle/>
        <a:p>
          <a:endParaRPr lang="en-US"/>
        </a:p>
      </dgm:t>
    </dgm:pt>
    <dgm:pt modelId="{04738DDB-438E-1046-A266-A7B39AB944D1}" type="sibTrans" cxnId="{A334C210-71B1-40BC-81B0-9406C179F362}">
      <dgm:prSet/>
      <dgm:spPr/>
      <dgm:t>
        <a:bodyPr/>
        <a:lstStyle/>
        <a:p>
          <a:endParaRPr lang="en-US"/>
        </a:p>
      </dgm:t>
    </dgm:pt>
    <dgm:pt modelId="{EAA399BC-9721-B743-908A-4746BA10215A}">
      <dgm:prSet phldrT="[Text]"/>
      <dgm:spPr/>
      <dgm:t>
        <a:bodyPr/>
        <a:lstStyle/>
        <a:p>
          <a:r>
            <a:rPr lang="en-US" dirty="0"/>
            <a:t>Constructor</a:t>
          </a:r>
        </a:p>
      </dgm:t>
    </dgm:pt>
    <dgm:pt modelId="{9D19C632-3919-DE45-880A-E2AD016F0B25}" type="parTrans" cxnId="{B8E89262-283A-49F7-8A54-D2391E1B6B04}">
      <dgm:prSet/>
      <dgm:spPr/>
      <dgm:t>
        <a:bodyPr/>
        <a:lstStyle/>
        <a:p>
          <a:endParaRPr lang="en-US"/>
        </a:p>
      </dgm:t>
    </dgm:pt>
    <dgm:pt modelId="{68227547-BC39-C347-B8C5-E1BC84A76011}" type="sibTrans" cxnId="{B8E89262-283A-49F7-8A54-D2391E1B6B04}">
      <dgm:prSet/>
      <dgm:spPr/>
      <dgm:t>
        <a:bodyPr/>
        <a:lstStyle/>
        <a:p>
          <a:endParaRPr lang="en-US"/>
        </a:p>
      </dgm:t>
    </dgm:pt>
    <dgm:pt modelId="{FDF5CD54-EA25-3942-956C-82E1908345B4}">
      <dgm:prSet phldrT="[Text]" custT="1"/>
      <dgm:spPr/>
      <dgm:t>
        <a:bodyPr/>
        <a:lstStyle/>
        <a:p>
          <a:r>
            <a:rPr lang="en-US" sz="1200" dirty="0"/>
            <a:t>The constructor defines input parameters for a new smart contract instance of a workflow</a:t>
          </a:r>
        </a:p>
      </dgm:t>
    </dgm:pt>
    <dgm:pt modelId="{59CBB45F-ADCE-0B42-BA75-814208F7085B}" type="parTrans" cxnId="{44D7048F-3A26-4DB0-9984-844F28C28ACD}">
      <dgm:prSet/>
      <dgm:spPr/>
      <dgm:t>
        <a:bodyPr/>
        <a:lstStyle/>
        <a:p>
          <a:endParaRPr lang="en-US"/>
        </a:p>
      </dgm:t>
    </dgm:pt>
    <dgm:pt modelId="{2F47B318-1ACE-5C49-A4AA-991153F8B598}" type="sibTrans" cxnId="{44D7048F-3A26-4DB0-9984-844F28C28ACD}">
      <dgm:prSet/>
      <dgm:spPr/>
      <dgm:t>
        <a:bodyPr/>
        <a:lstStyle/>
        <a:p>
          <a:endParaRPr lang="en-US"/>
        </a:p>
      </dgm:t>
    </dgm:pt>
    <dgm:pt modelId="{E60FA42F-2092-AC4D-B4C3-16BD20080929}">
      <dgm:prSet phldrT="[Text]" custT="1"/>
      <dgm:spPr/>
      <dgm:t>
        <a:bodyPr/>
        <a:lstStyle/>
        <a:p>
          <a:r>
            <a:rPr lang="en-US" sz="1200" dirty="0"/>
            <a:t>The constructor is declared as a function with the same name as the contract</a:t>
          </a:r>
        </a:p>
      </dgm:t>
    </dgm:pt>
    <dgm:pt modelId="{1150579C-4A8E-F44A-88B2-202B8B0F39B7}" type="parTrans" cxnId="{1299F4EA-ADF1-49FE-8764-334C819B4CCE}">
      <dgm:prSet/>
      <dgm:spPr/>
      <dgm:t>
        <a:bodyPr/>
        <a:lstStyle/>
        <a:p>
          <a:endParaRPr lang="en-US"/>
        </a:p>
      </dgm:t>
    </dgm:pt>
    <dgm:pt modelId="{D9D76843-11A8-994C-B312-F6DE1F70CC86}" type="sibTrans" cxnId="{1299F4EA-ADF1-49FE-8764-334C819B4CCE}">
      <dgm:prSet/>
      <dgm:spPr/>
      <dgm:t>
        <a:bodyPr/>
        <a:lstStyle/>
        <a:p>
          <a:endParaRPr lang="en-US"/>
        </a:p>
      </dgm:t>
    </dgm:pt>
    <dgm:pt modelId="{96D68090-243F-3A41-A3C1-758EE278E71A}">
      <dgm:prSet phldrT="[Text]" custT="1"/>
      <dgm:spPr/>
      <dgm:t>
        <a:bodyPr/>
        <a:lstStyle/>
        <a:p>
          <a:r>
            <a:rPr lang="en-US" sz="1200" dirty="0"/>
            <a:t>Required parameters for the constructor are defined as constructor parameters in the configuration file </a:t>
          </a:r>
        </a:p>
      </dgm:t>
    </dgm:pt>
    <dgm:pt modelId="{341B4FDE-85BA-E54D-8A5C-5ABCAFC85046}" type="parTrans" cxnId="{B8E23671-6A4D-4644-BBE9-51DE6C7B86C6}">
      <dgm:prSet/>
      <dgm:spPr/>
      <dgm:t>
        <a:bodyPr/>
        <a:lstStyle/>
        <a:p>
          <a:endParaRPr lang="en-US"/>
        </a:p>
      </dgm:t>
    </dgm:pt>
    <dgm:pt modelId="{595B3F28-7CF7-094A-B06B-18FAD0834E66}" type="sibTrans" cxnId="{B8E23671-6A4D-4644-BBE9-51DE6C7B86C6}">
      <dgm:prSet/>
      <dgm:spPr/>
      <dgm:t>
        <a:bodyPr/>
        <a:lstStyle/>
        <a:p>
          <a:endParaRPr lang="en-US"/>
        </a:p>
      </dgm:t>
    </dgm:pt>
    <dgm:pt modelId="{AA7AC6F9-EA5C-C24F-9AA7-367614229CE5}">
      <dgm:prSet phldrT="[Text]" custT="1"/>
      <dgm:spPr/>
      <dgm:t>
        <a:bodyPr/>
        <a:lstStyle/>
        <a:p>
          <a:r>
            <a:rPr lang="en-US" sz="1200" dirty="0"/>
            <a:t>The number, order, and type of parameters must match in both files.</a:t>
          </a:r>
        </a:p>
      </dgm:t>
    </dgm:pt>
    <dgm:pt modelId="{503DE381-F5D2-B54F-AB4A-42323F6A79F3}" type="parTrans" cxnId="{DB43C5D1-8FD4-4020-8752-4631423F0006}">
      <dgm:prSet/>
      <dgm:spPr/>
      <dgm:t>
        <a:bodyPr/>
        <a:lstStyle/>
        <a:p>
          <a:endParaRPr lang="en-US"/>
        </a:p>
      </dgm:t>
    </dgm:pt>
    <dgm:pt modelId="{208FA664-611E-7E43-9E53-988972A2FAAB}" type="sibTrans" cxnId="{DB43C5D1-8FD4-4020-8752-4631423F0006}">
      <dgm:prSet/>
      <dgm:spPr/>
      <dgm:t>
        <a:bodyPr/>
        <a:lstStyle/>
        <a:p>
          <a:endParaRPr lang="en-US"/>
        </a:p>
      </dgm:t>
    </dgm:pt>
    <dgm:pt modelId="{4AC71D21-1492-3348-B7A6-5C2BCBD902D5}">
      <dgm:prSet phldrT="[Text]"/>
      <dgm:spPr/>
      <dgm:t>
        <a:bodyPr/>
        <a:lstStyle/>
        <a:p>
          <a:r>
            <a:rPr lang="en-US" dirty="0"/>
            <a:t>Functions</a:t>
          </a:r>
        </a:p>
      </dgm:t>
    </dgm:pt>
    <dgm:pt modelId="{9402E8AD-84FA-DD4F-859F-CDEB1436E7F3}" type="parTrans" cxnId="{4C8DA39C-87AB-4865-B888-36C4CB0E71DB}">
      <dgm:prSet/>
      <dgm:spPr/>
      <dgm:t>
        <a:bodyPr/>
        <a:lstStyle/>
        <a:p>
          <a:endParaRPr lang="en-US"/>
        </a:p>
      </dgm:t>
    </dgm:pt>
    <dgm:pt modelId="{EBA507D5-0C59-254B-A7F5-1D1427C5D840}" type="sibTrans" cxnId="{4C8DA39C-87AB-4865-B888-36C4CB0E71DB}">
      <dgm:prSet/>
      <dgm:spPr/>
      <dgm:t>
        <a:bodyPr/>
        <a:lstStyle/>
        <a:p>
          <a:endParaRPr lang="en-US"/>
        </a:p>
      </dgm:t>
    </dgm:pt>
    <dgm:pt modelId="{3449CA0B-085B-7749-B88D-B2F1CBAE4B99}">
      <dgm:prSet phldrT="[Text]" custT="1"/>
      <dgm:spPr/>
      <dgm:t>
        <a:bodyPr/>
        <a:lstStyle/>
        <a:p>
          <a:r>
            <a:rPr lang="en-US" sz="1200" b="0" i="0" u="none" dirty="0"/>
            <a:t>Functions are the executable units of business logic within a contract</a:t>
          </a:r>
          <a:br>
            <a:rPr lang="en-US" sz="1200" b="0" i="0" u="none" dirty="0"/>
          </a:br>
          <a:r>
            <a:rPr lang="en-US" sz="1200" b="0" i="0" u="none" dirty="0"/>
            <a:t> </a:t>
          </a:r>
          <a:endParaRPr lang="en-US" sz="1200" dirty="0"/>
        </a:p>
      </dgm:t>
    </dgm:pt>
    <dgm:pt modelId="{1C43AD30-7FC0-564B-A766-2458DF2E69E0}" type="parTrans" cxnId="{A12C9E46-C33C-4F79-B4C2-55EF299AAC0A}">
      <dgm:prSet/>
      <dgm:spPr/>
      <dgm:t>
        <a:bodyPr/>
        <a:lstStyle/>
        <a:p>
          <a:endParaRPr lang="en-US"/>
        </a:p>
      </dgm:t>
    </dgm:pt>
    <dgm:pt modelId="{A09686E9-C949-9F4F-9A90-14AE7F054DF9}" type="sibTrans" cxnId="{A12C9E46-C33C-4F79-B4C2-55EF299AAC0A}">
      <dgm:prSet/>
      <dgm:spPr/>
      <dgm:t>
        <a:bodyPr/>
        <a:lstStyle/>
        <a:p>
          <a:endParaRPr lang="en-US"/>
        </a:p>
      </dgm:t>
    </dgm:pt>
    <dgm:pt modelId="{75170E8D-BC1B-D740-BEB0-FD19E339036A}">
      <dgm:prSet phldrT="[Text]" custT="1"/>
      <dgm:spPr/>
      <dgm:t>
        <a:bodyPr/>
        <a:lstStyle/>
        <a:p>
          <a:r>
            <a:rPr lang="en-US" sz="1200" b="0" i="0" u="none" dirty="0"/>
            <a:t>Required parameters for the function are defined as function parameters in the configuration file</a:t>
          </a:r>
          <a:br>
            <a:rPr lang="en-US" sz="1200" b="0" i="0" u="none" dirty="0"/>
          </a:br>
          <a:r>
            <a:rPr lang="en-US" sz="1200" b="0" i="0" u="none" dirty="0"/>
            <a:t> </a:t>
          </a:r>
          <a:endParaRPr lang="en-US" sz="1200" dirty="0"/>
        </a:p>
      </dgm:t>
    </dgm:pt>
    <dgm:pt modelId="{CDB5A14D-D835-F942-8CBC-0983290E734F}" type="parTrans" cxnId="{B712741B-5983-44B7-B468-A3D2CA83D05D}">
      <dgm:prSet/>
      <dgm:spPr/>
      <dgm:t>
        <a:bodyPr/>
        <a:lstStyle/>
        <a:p>
          <a:endParaRPr lang="en-US"/>
        </a:p>
      </dgm:t>
    </dgm:pt>
    <dgm:pt modelId="{1C8594DC-7863-894A-AB3A-3C29378DA5DA}" type="sibTrans" cxnId="{B712741B-5983-44B7-B468-A3D2CA83D05D}">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0" presStyleCnt="4">
        <dgm:presLayoutVars>
          <dgm:chMax val="0"/>
          <dgm:chPref val="0"/>
          <dgm:bulletEnabled val="1"/>
        </dgm:presLayoutVars>
      </dgm:prSet>
      <dgm:spPr/>
    </dgm:pt>
    <dgm:pt modelId="{F4029437-CD94-9243-A4E6-230F610E13A7}" type="pres">
      <dgm:prSet presAssocID="{EF6F7FB3-D3E5-4548-BD1E-B72774CF5B92}" presName="desTx" presStyleLbl="alignAccFollowNode1" presStyleIdx="0" presStyleCnt="4">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1" presStyleCnt="4">
        <dgm:presLayoutVars>
          <dgm:chMax val="0"/>
          <dgm:chPref val="0"/>
          <dgm:bulletEnabled val="1"/>
        </dgm:presLayoutVars>
      </dgm:prSet>
      <dgm:spPr/>
    </dgm:pt>
    <dgm:pt modelId="{7186DE0A-A468-F844-8F3D-BC4EBCFEBA62}" type="pres">
      <dgm:prSet presAssocID="{2FB6C851-BFD2-3B40-A74C-E0990FBE416A}" presName="desTx" presStyleLbl="alignAccFollowNode1" presStyleIdx="1" presStyleCnt="4">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2" presStyleCnt="4">
        <dgm:presLayoutVars>
          <dgm:chMax val="0"/>
          <dgm:chPref val="0"/>
          <dgm:bulletEnabled val="1"/>
        </dgm:presLayoutVars>
      </dgm:prSet>
      <dgm:spPr/>
    </dgm:pt>
    <dgm:pt modelId="{2564D77F-41EC-7E4A-A245-9110782AA240}" type="pres">
      <dgm:prSet presAssocID="{EAA399BC-9721-B743-908A-4746BA10215A}" presName="desTx" presStyleLbl="alignAccFollowNode1" presStyleIdx="2" presStyleCnt="4">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3" presStyleCnt="4">
        <dgm:presLayoutVars>
          <dgm:chMax val="0"/>
          <dgm:chPref val="0"/>
          <dgm:bulletEnabled val="1"/>
        </dgm:presLayoutVars>
      </dgm:prSet>
      <dgm:spPr/>
    </dgm:pt>
    <dgm:pt modelId="{FDEEE735-727B-4C43-89AB-134B242C80FB}" type="pres">
      <dgm:prSet presAssocID="{4AC71D21-1492-3348-B7A6-5C2BCBD902D5}" presName="desTx" presStyleLbl="alignAccFollowNode1" presStyleIdx="3" presStyleCnt="4">
        <dgm:presLayoutVars>
          <dgm:bulletEnabled val="1"/>
        </dgm:presLayoutVars>
      </dgm:prSet>
      <dgm:spPr/>
    </dgm:pt>
  </dgm:ptLst>
  <dgm:cxnLst>
    <dgm:cxn modelId="{2289A809-E14E-43C2-8A88-FCE34619331A}" type="presOf" srcId="{00915C91-2BAC-CB44-9FA5-FC2883C261E5}" destId="{F4029437-CD94-9243-A4E6-230F610E13A7}" srcOrd="0" destOrd="0" presId="urn:microsoft.com/office/officeart/2005/8/layout/hList1"/>
    <dgm:cxn modelId="{A334C210-71B1-40BC-81B0-9406C179F362}" srcId="{2FB6C851-BFD2-3B40-A74C-E0990FBE416A}" destId="{EC49F6C6-D997-084C-8612-2D46DD5A7176}" srcOrd="1" destOrd="0" parTransId="{C75998B6-BE82-E547-ACB4-638FA3460B92}" sibTransId="{04738DDB-438E-1046-A266-A7B39AB944D1}"/>
    <dgm:cxn modelId="{B712741B-5983-44B7-B468-A3D2CA83D05D}" srcId="{4AC71D21-1492-3348-B7A6-5C2BCBD902D5}" destId="{75170E8D-BC1B-D740-BEB0-FD19E339036A}" srcOrd="1" destOrd="0" parTransId="{CDB5A14D-D835-F942-8CBC-0983290E734F}" sibTransId="{1C8594DC-7863-894A-AB3A-3C29378DA5DA}"/>
    <dgm:cxn modelId="{6497D91C-D0AA-40BA-994D-4F2E6D39BA42}" type="presOf" srcId="{CECDF376-691C-C44B-B0DD-0F70BA2E24CB}" destId="{F4029437-CD94-9243-A4E6-230F610E13A7}" srcOrd="0" destOrd="5" presId="urn:microsoft.com/office/officeart/2005/8/layout/hList1"/>
    <dgm:cxn modelId="{F003F31C-25B9-4E57-BA3B-4FD784F2B304}" type="presOf" srcId="{FDF5CD54-EA25-3942-956C-82E1908345B4}" destId="{2564D77F-41EC-7E4A-A245-9110782AA240}" srcOrd="0" destOrd="0" presId="urn:microsoft.com/office/officeart/2005/8/layout/hList1"/>
    <dgm:cxn modelId="{948BC721-3800-4A8A-968A-4E32DC244225}" type="presOf" srcId="{1B5B7AFB-57D0-C24C-A786-43096A5AC225}" destId="{FDEEE735-727B-4C43-89AB-134B242C80FB}" srcOrd="0" destOrd="2" presId="urn:microsoft.com/office/officeart/2005/8/layout/hList1"/>
    <dgm:cxn modelId="{5EA9A130-8ECB-46E7-B384-86062342618E}" type="presOf" srcId="{0B5810C7-3373-0940-9DA0-77F9BAD20039}" destId="{F4029437-CD94-9243-A4E6-230F610E13A7}" srcOrd="0" destOrd="4" presId="urn:microsoft.com/office/officeart/2005/8/layout/hList1"/>
    <dgm:cxn modelId="{481C2840-0A4A-4BB0-A6BA-1BECB47A6CD5}" type="presOf" srcId="{EE74E1FD-36DB-DD46-BF13-76B65F0AC30D}" destId="{F4029437-CD94-9243-A4E6-230F610E13A7}" srcOrd="0" destOrd="1" presId="urn:microsoft.com/office/officeart/2005/8/layout/hList1"/>
    <dgm:cxn modelId="{D0399F5D-2F34-437A-A81F-0A125CA5F925}" srcId="{EF6F7FB3-D3E5-4548-BD1E-B72774CF5B92}" destId="{CECDF376-691C-C44B-B0DD-0F70BA2E24CB}" srcOrd="5" destOrd="0" parTransId="{CE7163BD-01C1-9A4E-B5E0-B56A9F744374}" sibTransId="{8E30113C-80AA-8645-A0A3-DB636CFE456E}"/>
    <dgm:cxn modelId="{9F17495E-19D1-7D40-BCE4-17779A304E97}" type="presOf" srcId="{601D3C9A-68CD-1945-ADB7-DA2E05599C5A}" destId="{A0ED3AAA-DC34-4245-958B-1C17AB663406}" srcOrd="0" destOrd="0" presId="urn:microsoft.com/office/officeart/2005/8/layout/hList1"/>
    <dgm:cxn modelId="{1D6F9241-73FB-49C2-A1CB-A973FF1CAF59}" type="presOf" srcId="{75170E8D-BC1B-D740-BEB0-FD19E339036A}" destId="{FDEEE735-727B-4C43-89AB-134B242C80FB}" srcOrd="0" destOrd="1" presId="urn:microsoft.com/office/officeart/2005/8/layout/hList1"/>
    <dgm:cxn modelId="{88C10C62-EBDF-445B-9031-F2F84A99497B}" type="presOf" srcId="{E307C5A6-904E-1343-979E-725A9F8FF469}" destId="{F4029437-CD94-9243-A4E6-230F610E13A7}" srcOrd="0" destOrd="3" presId="urn:microsoft.com/office/officeart/2005/8/layout/hList1"/>
    <dgm:cxn modelId="{B8E89262-283A-49F7-8A54-D2391E1B6B04}" srcId="{601D3C9A-68CD-1945-ADB7-DA2E05599C5A}" destId="{EAA399BC-9721-B743-908A-4746BA10215A}" srcOrd="2" destOrd="0" parTransId="{9D19C632-3919-DE45-880A-E2AD016F0B25}" sibTransId="{68227547-BC39-C347-B8C5-E1BC84A76011}"/>
    <dgm:cxn modelId="{A12C9E46-C33C-4F79-B4C2-55EF299AAC0A}" srcId="{4AC71D21-1492-3348-B7A6-5C2BCBD902D5}" destId="{3449CA0B-085B-7749-B88D-B2F1CBAE4B99}" srcOrd="0" destOrd="0" parTransId="{1C43AD30-7FC0-564B-A766-2458DF2E69E0}" sibTransId="{A09686E9-C949-9F4F-9A90-14AE7F054DF9}"/>
    <dgm:cxn modelId="{7D341069-F728-421F-ADCB-EC2C17F47AD9}" srcId="{EF6F7FB3-D3E5-4548-BD1E-B72774CF5B92}" destId="{6117F474-1AD4-E141-93EE-43518BA761D0}" srcOrd="2" destOrd="0" parTransId="{154DB7A4-8083-F649-91AF-57B30B11431B}" sibTransId="{53EB06E2-B7B4-B24B-8369-1DCCB801E6BD}"/>
    <dgm:cxn modelId="{9AADBE6C-3E71-4605-BC27-4F5FFA6C8518}" type="presOf" srcId="{6117F474-1AD4-E141-93EE-43518BA761D0}" destId="{F4029437-CD94-9243-A4E6-230F610E13A7}" srcOrd="0" destOrd="2" presId="urn:microsoft.com/office/officeart/2005/8/layout/hList1"/>
    <dgm:cxn modelId="{D389084E-6796-4734-940D-BA8ABAD6DDAF}" srcId="{EF6F7FB3-D3E5-4548-BD1E-B72774CF5B92}" destId="{B91B23CD-F7DF-CF4C-AA96-C5AE11072FEB}" srcOrd="6" destOrd="0" parTransId="{47E11246-F866-CA4C-81FD-1C2892219D62}" sibTransId="{E794840E-11F5-7446-B800-5B716BED825D}"/>
    <dgm:cxn modelId="{5D4F6E6F-2595-4ED0-8B73-6C8638C09930}" type="presOf" srcId="{E60FA42F-2092-AC4D-B4C3-16BD20080929}" destId="{2564D77F-41EC-7E4A-A245-9110782AA240}" srcOrd="0" destOrd="1" presId="urn:microsoft.com/office/officeart/2005/8/layout/hList1"/>
    <dgm:cxn modelId="{B8E23671-6A4D-4644-BBE9-51DE6C7B86C6}" srcId="{EAA399BC-9721-B743-908A-4746BA10215A}" destId="{96D68090-243F-3A41-A3C1-758EE278E71A}" srcOrd="2" destOrd="0" parTransId="{341B4FDE-85BA-E54D-8A5C-5ABCAFC85046}" sibTransId="{595B3F28-7CF7-094A-B06B-18FAD0834E66}"/>
    <dgm:cxn modelId="{7C89A959-A781-47AE-9AE1-04FC8FCD908D}" type="presOf" srcId="{3449CA0B-085B-7749-B88D-B2F1CBAE4B99}" destId="{FDEEE735-727B-4C43-89AB-134B242C80FB}" srcOrd="0" destOrd="0" presId="urn:microsoft.com/office/officeart/2005/8/layout/hList1"/>
    <dgm:cxn modelId="{E2BD2986-2DC8-4067-817A-675FB6AE42F6}" type="presOf" srcId="{7F9CA40A-FB21-EB4C-90CE-2B1CFA54D562}" destId="{7186DE0A-A468-F844-8F3D-BC4EBCFEBA62}" srcOrd="0" destOrd="0" presId="urn:microsoft.com/office/officeart/2005/8/layout/hList1"/>
    <dgm:cxn modelId="{290AA688-695D-41B3-8CA6-C0AA27F24E9A}" type="presOf" srcId="{EC49F6C6-D997-084C-8612-2D46DD5A7176}" destId="{7186DE0A-A468-F844-8F3D-BC4EBCFEBA62}" srcOrd="0" destOrd="1" presId="urn:microsoft.com/office/officeart/2005/8/layout/hList1"/>
    <dgm:cxn modelId="{8FCD128A-228E-4DF6-85BB-CC76F5E809A0}" type="presOf" srcId="{4AC71D21-1492-3348-B7A6-5C2BCBD902D5}" destId="{0E32FB3D-56EA-B24A-9E94-469C9E603473}" srcOrd="0" destOrd="0" presId="urn:microsoft.com/office/officeart/2005/8/layout/hList1"/>
    <dgm:cxn modelId="{44D7048F-3A26-4DB0-9984-844F28C28ACD}" srcId="{EAA399BC-9721-B743-908A-4746BA10215A}" destId="{FDF5CD54-EA25-3942-956C-82E1908345B4}" srcOrd="0" destOrd="0" parTransId="{59CBB45F-ADCE-0B42-BA75-814208F7085B}" sibTransId="{2F47B318-1ACE-5C49-A4AA-991153F8B598}"/>
    <dgm:cxn modelId="{A12CCD91-69DF-4DF3-AF8C-5E575A3DB190}" srcId="{601D3C9A-68CD-1945-ADB7-DA2E05599C5A}" destId="{2FB6C851-BFD2-3B40-A74C-E0990FBE416A}" srcOrd="1" destOrd="0" parTransId="{69ED7902-97D8-9649-A75F-28025A394F19}" sibTransId="{D8C50E35-3552-B448-B86F-D91AA94E1D78}"/>
    <dgm:cxn modelId="{120F3A93-1EAC-49C6-B3BD-DC779026E2A1}" srcId="{EF6F7FB3-D3E5-4548-BD1E-B72774CF5B92}" destId="{0B5810C7-3373-0940-9DA0-77F9BAD20039}" srcOrd="4" destOrd="0" parTransId="{1074E96E-3C25-BF41-BE46-317BB44DD0E1}" sibTransId="{E977F061-804B-5244-A884-6E2795799812}"/>
    <dgm:cxn modelId="{3964E694-E239-4D06-B33B-9AB4C0BF4AEB}" srcId="{EF6F7FB3-D3E5-4548-BD1E-B72774CF5B92}" destId="{EE74E1FD-36DB-DD46-BF13-76B65F0AC30D}" srcOrd="1" destOrd="0" parTransId="{281854AB-1940-9640-91D9-010541892070}" sibTransId="{F5279980-9FF2-C045-884E-BE776457C196}"/>
    <dgm:cxn modelId="{132D4199-0DE0-43F7-A8BE-B628780E5A42}" srcId="{EF6F7FB3-D3E5-4548-BD1E-B72774CF5B92}" destId="{E307C5A6-904E-1343-979E-725A9F8FF469}" srcOrd="3" destOrd="0" parTransId="{E69A362D-31C4-5643-9D0E-649F4C0B00CF}" sibTransId="{44B053BC-D2FA-7741-B6F2-E2D2781B7CC5}"/>
    <dgm:cxn modelId="{E911279A-9906-4198-B6D2-AA93DF303D9E}" srcId="{601D3C9A-68CD-1945-ADB7-DA2E05599C5A}" destId="{EF6F7FB3-D3E5-4548-BD1E-B72774CF5B92}" srcOrd="0" destOrd="0" parTransId="{45730361-F738-1D4E-A3C5-411A94807EC9}" sibTransId="{3EE142BA-28AD-B148-A13A-EC6787931D89}"/>
    <dgm:cxn modelId="{53B27D9C-4BA0-4BDD-9AEB-96359411E3DF}" type="presOf" srcId="{B91B23CD-F7DF-CF4C-AA96-C5AE11072FEB}" destId="{F4029437-CD94-9243-A4E6-230F610E13A7}" srcOrd="0" destOrd="6" presId="urn:microsoft.com/office/officeart/2005/8/layout/hList1"/>
    <dgm:cxn modelId="{4C8DA39C-87AB-4865-B888-36C4CB0E71DB}" srcId="{601D3C9A-68CD-1945-ADB7-DA2E05599C5A}" destId="{4AC71D21-1492-3348-B7A6-5C2BCBD902D5}" srcOrd="3" destOrd="0" parTransId="{9402E8AD-84FA-DD4F-859F-CDEB1436E7F3}" sibTransId="{EBA507D5-0C59-254B-A7F5-1D1427C5D840}"/>
    <dgm:cxn modelId="{2CBC7E9F-5AB3-4692-A217-A45C47126262}" type="presOf" srcId="{2FB6C851-BFD2-3B40-A74C-E0990FBE416A}" destId="{8676B8BF-5D93-364A-B177-E7FD628083CA}" srcOrd="0" destOrd="0" presId="urn:microsoft.com/office/officeart/2005/8/layout/hList1"/>
    <dgm:cxn modelId="{8634D0B5-E374-B24C-84F7-AA700BBFCA41}" srcId="{4AC71D21-1492-3348-B7A6-5C2BCBD902D5}" destId="{1B5B7AFB-57D0-C24C-A786-43096A5AC225}" srcOrd="2" destOrd="0" parTransId="{32186EC6-F23F-5E4C-B07A-FA236FDEBBB8}" sibTransId="{5440F09A-A7D1-C148-BC9C-43BB1414766E}"/>
    <dgm:cxn modelId="{68A7F1BE-B40B-49DF-A33F-387214C3E5A6}" type="presOf" srcId="{96D68090-243F-3A41-A3C1-758EE278E71A}" destId="{2564D77F-41EC-7E4A-A245-9110782AA240}" srcOrd="0" destOrd="2" presId="urn:microsoft.com/office/officeart/2005/8/layout/hList1"/>
    <dgm:cxn modelId="{E88507CA-BEF2-4827-A77F-CAB1C70237F7}" type="presOf" srcId="{EF6F7FB3-D3E5-4548-BD1E-B72774CF5B92}" destId="{F559DA8F-9B70-E042-87E3-BAA2CDF72A58}" srcOrd="0" destOrd="0" presId="urn:microsoft.com/office/officeart/2005/8/layout/hList1"/>
    <dgm:cxn modelId="{DB43C5D1-8FD4-4020-8752-4631423F0006}" srcId="{EAA399BC-9721-B743-908A-4746BA10215A}" destId="{AA7AC6F9-EA5C-C24F-9AA7-367614229CE5}" srcOrd="3" destOrd="0" parTransId="{503DE381-F5D2-B54F-AB4A-42323F6A79F3}" sibTransId="{208FA664-611E-7E43-9E53-988972A2FAAB}"/>
    <dgm:cxn modelId="{C22C94DD-2B5D-4447-900D-3D686D15BA50}" srcId="{2FB6C851-BFD2-3B40-A74C-E0990FBE416A}" destId="{7F9CA40A-FB21-EB4C-90CE-2B1CFA54D562}" srcOrd="0" destOrd="0" parTransId="{FB56CC65-3174-5942-901F-78F5D60CB511}" sibTransId="{26F71CCA-6513-B64B-9C8D-920A4BD6E55C}"/>
    <dgm:cxn modelId="{B6D8BAE8-FF5F-47B8-9570-4CBAC22C1694}" srcId="{EF6F7FB3-D3E5-4548-BD1E-B72774CF5B92}" destId="{00915C91-2BAC-CB44-9FA5-FC2883C261E5}" srcOrd="0" destOrd="0" parTransId="{3659585A-5D96-424C-8A2E-8A3687C2367C}" sibTransId="{2270BCC6-9E2B-4C4C-BCD4-A223C629D2A8}"/>
    <dgm:cxn modelId="{1299F4EA-ADF1-49FE-8764-334C819B4CCE}" srcId="{EAA399BC-9721-B743-908A-4746BA10215A}" destId="{E60FA42F-2092-AC4D-B4C3-16BD20080929}" srcOrd="1" destOrd="0" parTransId="{1150579C-4A8E-F44A-88B2-202B8B0F39B7}" sibTransId="{D9D76843-11A8-994C-B312-F6DE1F70CC86}"/>
    <dgm:cxn modelId="{CE37DFF4-2A53-46EF-818D-D126E89C9E04}" type="presOf" srcId="{EAA399BC-9721-B743-908A-4746BA10215A}" destId="{0F2E45FF-7FE9-FF49-8DB5-095D84C0F1B7}" srcOrd="0" destOrd="0" presId="urn:microsoft.com/office/officeart/2005/8/layout/hList1"/>
    <dgm:cxn modelId="{DA3DC2FF-CA12-40D7-99DF-AC05823422D0}" type="presOf" srcId="{AA7AC6F9-EA5C-C24F-9AA7-367614229CE5}" destId="{2564D77F-41EC-7E4A-A245-9110782AA240}" srcOrd="0" destOrd="3" presId="urn:microsoft.com/office/officeart/2005/8/layout/hList1"/>
    <dgm:cxn modelId="{5EB11E65-4E19-4A28-992A-8041A11AA9FB}" type="presParOf" srcId="{A0ED3AAA-DC34-4245-958B-1C17AB663406}" destId="{69D527AC-4091-1346-A593-21DCC20F4CD2}" srcOrd="0" destOrd="0" presId="urn:microsoft.com/office/officeart/2005/8/layout/hList1"/>
    <dgm:cxn modelId="{2FB37E68-1F48-427F-A4B8-CA943D21C4E1}" type="presParOf" srcId="{69D527AC-4091-1346-A593-21DCC20F4CD2}" destId="{F559DA8F-9B70-E042-87E3-BAA2CDF72A58}" srcOrd="0" destOrd="0" presId="urn:microsoft.com/office/officeart/2005/8/layout/hList1"/>
    <dgm:cxn modelId="{D2EBC80E-740D-4DCC-8F12-7FE3D1898CB2}" type="presParOf" srcId="{69D527AC-4091-1346-A593-21DCC20F4CD2}" destId="{F4029437-CD94-9243-A4E6-230F610E13A7}" srcOrd="1" destOrd="0" presId="urn:microsoft.com/office/officeart/2005/8/layout/hList1"/>
    <dgm:cxn modelId="{CF06A87B-5F95-4462-9571-338EE612AE32}" type="presParOf" srcId="{A0ED3AAA-DC34-4245-958B-1C17AB663406}" destId="{11938A7F-2459-F64D-895E-B6AD2A84019D}" srcOrd="1" destOrd="0" presId="urn:microsoft.com/office/officeart/2005/8/layout/hList1"/>
    <dgm:cxn modelId="{E77DCAB0-A5AD-495F-921C-427425CD3EFD}" type="presParOf" srcId="{A0ED3AAA-DC34-4245-958B-1C17AB663406}" destId="{2951423E-C911-9B43-ADFF-461A2AFE3377}" srcOrd="2" destOrd="0" presId="urn:microsoft.com/office/officeart/2005/8/layout/hList1"/>
    <dgm:cxn modelId="{F88BBF6F-69F1-49FF-8B6A-A60D7FE97D53}" type="presParOf" srcId="{2951423E-C911-9B43-ADFF-461A2AFE3377}" destId="{8676B8BF-5D93-364A-B177-E7FD628083CA}" srcOrd="0" destOrd="0" presId="urn:microsoft.com/office/officeart/2005/8/layout/hList1"/>
    <dgm:cxn modelId="{4DEBDD16-5F26-44BF-BBEF-A1D30CFAE653}" type="presParOf" srcId="{2951423E-C911-9B43-ADFF-461A2AFE3377}" destId="{7186DE0A-A468-F844-8F3D-BC4EBCFEBA62}" srcOrd="1" destOrd="0" presId="urn:microsoft.com/office/officeart/2005/8/layout/hList1"/>
    <dgm:cxn modelId="{1915AE59-8349-429C-BA88-0C7A55904B66}" type="presParOf" srcId="{A0ED3AAA-DC34-4245-958B-1C17AB663406}" destId="{3AC3ACB8-807E-604C-8E3A-3CD69377C72A}" srcOrd="3" destOrd="0" presId="urn:microsoft.com/office/officeart/2005/8/layout/hList1"/>
    <dgm:cxn modelId="{01A3CB77-0C64-4763-BAB8-5C294BC1FC4E}" type="presParOf" srcId="{A0ED3AAA-DC34-4245-958B-1C17AB663406}" destId="{95B24CD4-4F2F-AE4E-BB09-A3D301E9DD1F}" srcOrd="4" destOrd="0" presId="urn:microsoft.com/office/officeart/2005/8/layout/hList1"/>
    <dgm:cxn modelId="{5BA1C18D-5F74-4D39-9FBB-ABC17E86B894}" type="presParOf" srcId="{95B24CD4-4F2F-AE4E-BB09-A3D301E9DD1F}" destId="{0F2E45FF-7FE9-FF49-8DB5-095D84C0F1B7}" srcOrd="0" destOrd="0" presId="urn:microsoft.com/office/officeart/2005/8/layout/hList1"/>
    <dgm:cxn modelId="{0901900A-725D-4385-8BBF-136ECD44DD99}" type="presParOf" srcId="{95B24CD4-4F2F-AE4E-BB09-A3D301E9DD1F}" destId="{2564D77F-41EC-7E4A-A245-9110782AA240}" srcOrd="1" destOrd="0" presId="urn:microsoft.com/office/officeart/2005/8/layout/hList1"/>
    <dgm:cxn modelId="{53746FDA-18EF-443E-B432-EB30D767F481}" type="presParOf" srcId="{A0ED3AAA-DC34-4245-958B-1C17AB663406}" destId="{9C501F13-EA3C-4147-AD30-2F4EFBDDBF6D}" srcOrd="5" destOrd="0" presId="urn:microsoft.com/office/officeart/2005/8/layout/hList1"/>
    <dgm:cxn modelId="{35A953AD-A569-40E9-9619-64BB79BF62AD}" type="presParOf" srcId="{A0ED3AAA-DC34-4245-958B-1C17AB663406}" destId="{327C4128-FFE2-EA43-9A30-3D5C39C803F1}" srcOrd="6" destOrd="0" presId="urn:microsoft.com/office/officeart/2005/8/layout/hList1"/>
    <dgm:cxn modelId="{A58B48D1-D4EA-473E-9F20-A3BB7337457D}" type="presParOf" srcId="{327C4128-FFE2-EA43-9A30-3D5C39C803F1}" destId="{0E32FB3D-56EA-B24A-9E94-469C9E603473}" srcOrd="0" destOrd="0" presId="urn:microsoft.com/office/officeart/2005/8/layout/hList1"/>
    <dgm:cxn modelId="{FDBE02B3-83C0-481B-B3C9-4CD16F7EDA6C}" type="presParOf" srcId="{327C4128-FFE2-EA43-9A30-3D5C39C803F1}" destId="{FDEEE735-727B-4C43-89AB-134B242C80F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1D3C9A-68CD-1945-ADB7-DA2E05599C5A}"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EF6F7FB3-D3E5-4548-BD1E-B72774CF5B92}">
      <dgm:prSet phldrT="[Text]"/>
      <dgm:spPr/>
      <dgm:t>
        <a:bodyPr/>
        <a:lstStyle/>
        <a:p>
          <a:r>
            <a:rPr lang="en-US" dirty="0"/>
            <a:t>Workflow</a:t>
          </a:r>
        </a:p>
      </dgm:t>
    </dgm:pt>
    <dgm:pt modelId="{45730361-F738-1D4E-A3C5-411A94807EC9}" type="parTrans" cxnId="{C926C7C9-D26C-EB45-8190-82A256F827A2}">
      <dgm:prSet/>
      <dgm:spPr/>
      <dgm:t>
        <a:bodyPr/>
        <a:lstStyle/>
        <a:p>
          <a:endParaRPr lang="en-US"/>
        </a:p>
      </dgm:t>
    </dgm:pt>
    <dgm:pt modelId="{3EE142BA-28AD-B148-A13A-EC6787931D89}" type="sibTrans" cxnId="{C926C7C9-D26C-EB45-8190-82A256F827A2}">
      <dgm:prSet/>
      <dgm:spPr/>
      <dgm:t>
        <a:bodyPr/>
        <a:lstStyle/>
        <a:p>
          <a:endParaRPr lang="en-US"/>
        </a:p>
      </dgm:t>
    </dgm:pt>
    <dgm:pt modelId="{61897AD0-23B2-154C-86D2-E400A5896A0E}">
      <dgm:prSet phldrT="[Text]" custT="1"/>
      <dgm:spPr/>
      <dgm:t>
        <a:bodyPr/>
        <a:lstStyle/>
        <a:p>
          <a:r>
            <a:rPr lang="en-US" sz="1400" dirty="0"/>
            <a:t>Collection of states and actions that models application business logic as a state machine</a:t>
          </a:r>
          <a:br>
            <a:rPr lang="en-US" sz="1400" dirty="0"/>
          </a:br>
          <a:endParaRPr lang="en-US" sz="1400" dirty="0"/>
        </a:p>
      </dgm:t>
    </dgm:pt>
    <dgm:pt modelId="{2AFF3A5B-30E9-BF44-86B7-A93B6D95B237}" type="parTrans" cxnId="{F6B7C667-F7D9-AE4C-B15E-F158C7A45FAF}">
      <dgm:prSet/>
      <dgm:spPr/>
      <dgm:t>
        <a:bodyPr/>
        <a:lstStyle/>
        <a:p>
          <a:endParaRPr lang="en-US"/>
        </a:p>
      </dgm:t>
    </dgm:pt>
    <dgm:pt modelId="{EE034AE8-6B16-2D49-88B4-99C48610820A}" type="sibTrans" cxnId="{F6B7C667-F7D9-AE4C-B15E-F158C7A45FAF}">
      <dgm:prSet/>
      <dgm:spPr/>
      <dgm:t>
        <a:bodyPr/>
        <a:lstStyle/>
        <a:p>
          <a:endParaRPr lang="en-US"/>
        </a:p>
      </dgm:t>
    </dgm:pt>
    <dgm:pt modelId="{2FB6C851-BFD2-3B40-A74C-E0990FBE416A}">
      <dgm:prSet phldrT="[Text]"/>
      <dgm:spPr/>
      <dgm:t>
        <a:bodyPr/>
        <a:lstStyle/>
        <a:p>
          <a:r>
            <a:rPr lang="en-US" dirty="0"/>
            <a:t>Constructor</a:t>
          </a:r>
        </a:p>
      </dgm:t>
    </dgm:pt>
    <dgm:pt modelId="{69ED7902-97D8-9649-A75F-28025A394F19}" type="parTrans" cxnId="{4E5E23AE-F847-F245-B4D9-A1C962CFFF26}">
      <dgm:prSet/>
      <dgm:spPr/>
      <dgm:t>
        <a:bodyPr/>
        <a:lstStyle/>
        <a:p>
          <a:endParaRPr lang="en-US"/>
        </a:p>
      </dgm:t>
    </dgm:pt>
    <dgm:pt modelId="{D8C50E35-3552-B448-B86F-D91AA94E1D78}" type="sibTrans" cxnId="{4E5E23AE-F847-F245-B4D9-A1C962CFFF26}">
      <dgm:prSet/>
      <dgm:spPr/>
      <dgm:t>
        <a:bodyPr/>
        <a:lstStyle/>
        <a:p>
          <a:endParaRPr lang="en-US"/>
        </a:p>
      </dgm:t>
    </dgm:pt>
    <dgm:pt modelId="{7F9CA40A-FB21-EB4C-90CE-2B1CFA54D562}">
      <dgm:prSet phldrT="[Text]" custT="1"/>
      <dgm:spPr/>
      <dgm:t>
        <a:bodyPr/>
        <a:lstStyle/>
        <a:p>
          <a:r>
            <a:rPr lang="en-US" sz="1400" dirty="0"/>
            <a:t>Defines input parameters for an instance of a workflow</a:t>
          </a:r>
          <a:br>
            <a:rPr lang="en-US" sz="1400" dirty="0"/>
          </a:br>
          <a:endParaRPr lang="en-US" sz="1400" dirty="0"/>
        </a:p>
      </dgm:t>
    </dgm:pt>
    <dgm:pt modelId="{FB56CC65-3174-5942-901F-78F5D60CB511}" type="parTrans" cxnId="{D927760D-AA96-5046-B45C-31EC7286B247}">
      <dgm:prSet/>
      <dgm:spPr/>
      <dgm:t>
        <a:bodyPr/>
        <a:lstStyle/>
        <a:p>
          <a:endParaRPr lang="en-US"/>
        </a:p>
      </dgm:t>
    </dgm:pt>
    <dgm:pt modelId="{26F71CCA-6513-B64B-9C8D-920A4BD6E55C}" type="sibTrans" cxnId="{D927760D-AA96-5046-B45C-31EC7286B247}">
      <dgm:prSet/>
      <dgm:spPr/>
      <dgm:t>
        <a:bodyPr/>
        <a:lstStyle/>
        <a:p>
          <a:endParaRPr lang="en-US"/>
        </a:p>
      </dgm:t>
    </dgm:pt>
    <dgm:pt modelId="{0572007E-4073-C647-B20C-6FBBED67E818}">
      <dgm:prSet phldrT="[Text]" custT="1"/>
      <dgm:spPr/>
      <dgm:t>
        <a:bodyPr/>
        <a:lstStyle/>
        <a:p>
          <a:r>
            <a:rPr lang="en-US" sz="1400" dirty="0"/>
            <a:t>Maps to the Parameters column of the chart on the previous slide</a:t>
          </a:r>
        </a:p>
      </dgm:t>
    </dgm:pt>
    <dgm:pt modelId="{3E7BD8DD-63F0-534F-AC45-93135C8340A4}" type="parTrans" cxnId="{566BC760-462F-1347-8C8C-1F9352B5FAB0}">
      <dgm:prSet/>
      <dgm:spPr/>
      <dgm:t>
        <a:bodyPr/>
        <a:lstStyle/>
        <a:p>
          <a:endParaRPr lang="en-US"/>
        </a:p>
      </dgm:t>
    </dgm:pt>
    <dgm:pt modelId="{0D4E0869-FC29-F242-BDBC-3E8F1DE89E82}" type="sibTrans" cxnId="{566BC760-462F-1347-8C8C-1F9352B5FAB0}">
      <dgm:prSet/>
      <dgm:spPr/>
      <dgm:t>
        <a:bodyPr/>
        <a:lstStyle/>
        <a:p>
          <a:endParaRPr lang="en-US"/>
        </a:p>
      </dgm:t>
    </dgm:pt>
    <dgm:pt modelId="{EAA399BC-9721-B743-908A-4746BA10215A}">
      <dgm:prSet phldrT="[Text]"/>
      <dgm:spPr/>
      <dgm:t>
        <a:bodyPr/>
        <a:lstStyle/>
        <a:p>
          <a:r>
            <a:rPr lang="en-US" dirty="0"/>
            <a:t>Functions</a:t>
          </a:r>
        </a:p>
      </dgm:t>
    </dgm:pt>
    <dgm:pt modelId="{9D19C632-3919-DE45-880A-E2AD016F0B25}" type="parTrans" cxnId="{214AEC25-2A3B-1A43-B0C9-5CECC3A466F0}">
      <dgm:prSet/>
      <dgm:spPr/>
      <dgm:t>
        <a:bodyPr/>
        <a:lstStyle/>
        <a:p>
          <a:endParaRPr lang="en-US"/>
        </a:p>
      </dgm:t>
    </dgm:pt>
    <dgm:pt modelId="{68227547-BC39-C347-B8C5-E1BC84A76011}" type="sibTrans" cxnId="{214AEC25-2A3B-1A43-B0C9-5CECC3A466F0}">
      <dgm:prSet/>
      <dgm:spPr/>
      <dgm:t>
        <a:bodyPr/>
        <a:lstStyle/>
        <a:p>
          <a:endParaRPr lang="en-US"/>
        </a:p>
      </dgm:t>
    </dgm:pt>
    <dgm:pt modelId="{FDF5CD54-EA25-3942-956C-82E1908345B4}">
      <dgm:prSet phldrT="[Text]" custT="1"/>
      <dgm:spPr/>
      <dgm:t>
        <a:bodyPr/>
        <a:lstStyle/>
        <a:p>
          <a:r>
            <a:rPr lang="en-US" sz="1400" dirty="0"/>
            <a:t>Defines functions that can be executed on the workflow</a:t>
          </a:r>
          <a:br>
            <a:rPr lang="en-US" sz="1400" dirty="0"/>
          </a:br>
          <a:endParaRPr lang="en-US" sz="1400" dirty="0"/>
        </a:p>
      </dgm:t>
    </dgm:pt>
    <dgm:pt modelId="{59CBB45F-ADCE-0B42-BA75-814208F7085B}" type="parTrans" cxnId="{B02B8213-A404-DF45-8319-3BC5C40E389E}">
      <dgm:prSet/>
      <dgm:spPr/>
      <dgm:t>
        <a:bodyPr/>
        <a:lstStyle/>
        <a:p>
          <a:endParaRPr lang="en-US"/>
        </a:p>
      </dgm:t>
    </dgm:pt>
    <dgm:pt modelId="{2F47B318-1ACE-5C49-A4AA-991153F8B598}" type="sibTrans" cxnId="{B02B8213-A404-DF45-8319-3BC5C40E389E}">
      <dgm:prSet/>
      <dgm:spPr/>
      <dgm:t>
        <a:bodyPr/>
        <a:lstStyle/>
        <a:p>
          <a:endParaRPr lang="en-US"/>
        </a:p>
      </dgm:t>
    </dgm:pt>
    <dgm:pt modelId="{3F6B1B6C-C2FD-1C47-8097-F4FA7254109B}">
      <dgm:prSet phldrT="[Text]" custT="1"/>
      <dgm:spPr/>
      <dgm:t>
        <a:bodyPr/>
        <a:lstStyle/>
        <a:p>
          <a:r>
            <a:rPr lang="en-US" sz="1400" dirty="0"/>
            <a:t>The corresponding smart contract must use the same Name for the applicable function</a:t>
          </a:r>
          <a:br>
            <a:rPr lang="en-US" sz="1400" dirty="0"/>
          </a:br>
          <a:endParaRPr lang="en-US" sz="1400" dirty="0"/>
        </a:p>
      </dgm:t>
    </dgm:pt>
    <dgm:pt modelId="{813B38D7-AB05-6B4C-8AF3-3347A563928B}" type="parTrans" cxnId="{BE905F82-9FCC-004A-A0F6-A9FF26C784DD}">
      <dgm:prSet/>
      <dgm:spPr/>
      <dgm:t>
        <a:bodyPr/>
        <a:lstStyle/>
        <a:p>
          <a:endParaRPr lang="en-US"/>
        </a:p>
      </dgm:t>
    </dgm:pt>
    <dgm:pt modelId="{AE024315-D86F-F54A-AE4D-969E581EC9AB}" type="sibTrans" cxnId="{BE905F82-9FCC-004A-A0F6-A9FF26C784DD}">
      <dgm:prSet/>
      <dgm:spPr/>
      <dgm:t>
        <a:bodyPr/>
        <a:lstStyle/>
        <a:p>
          <a:endParaRPr lang="en-US"/>
        </a:p>
      </dgm:t>
    </dgm:pt>
    <dgm:pt modelId="{4AC71D21-1492-3348-B7A6-5C2BCBD902D5}">
      <dgm:prSet phldrT="[Text]"/>
      <dgm:spPr/>
      <dgm:t>
        <a:bodyPr/>
        <a:lstStyle/>
        <a:p>
          <a:r>
            <a:rPr lang="en-US" dirty="0"/>
            <a:t>States</a:t>
          </a:r>
        </a:p>
      </dgm:t>
    </dgm:pt>
    <dgm:pt modelId="{9402E8AD-84FA-DD4F-859F-CDEB1436E7F3}" type="parTrans" cxnId="{E8F1C6E3-BD50-2E47-B102-7401C727B357}">
      <dgm:prSet/>
      <dgm:spPr/>
      <dgm:t>
        <a:bodyPr/>
        <a:lstStyle/>
        <a:p>
          <a:endParaRPr lang="en-US"/>
        </a:p>
      </dgm:t>
    </dgm:pt>
    <dgm:pt modelId="{EBA507D5-0C59-254B-A7F5-1D1427C5D840}" type="sibTrans" cxnId="{E8F1C6E3-BD50-2E47-B102-7401C727B357}">
      <dgm:prSet/>
      <dgm:spPr/>
      <dgm:t>
        <a:bodyPr/>
        <a:lstStyle/>
        <a:p>
          <a:endParaRPr lang="en-US"/>
        </a:p>
      </dgm:t>
    </dgm:pt>
    <dgm:pt modelId="{80FFFCBF-D80C-E747-9FB3-93483E5A3463}">
      <dgm:prSet phldrT="[Text]"/>
      <dgm:spPr/>
      <dgm:t>
        <a:bodyPr/>
        <a:lstStyle/>
        <a:p>
          <a:r>
            <a:rPr lang="en-US" dirty="0"/>
            <a:t>Transitions</a:t>
          </a:r>
        </a:p>
      </dgm:t>
    </dgm:pt>
    <dgm:pt modelId="{FA0FC2D7-8BF9-8640-90C1-8FE764979180}" type="parTrans" cxnId="{D39492EB-3035-754B-8D64-1AE51287BD5E}">
      <dgm:prSet/>
      <dgm:spPr/>
      <dgm:t>
        <a:bodyPr/>
        <a:lstStyle/>
        <a:p>
          <a:endParaRPr lang="en-US"/>
        </a:p>
      </dgm:t>
    </dgm:pt>
    <dgm:pt modelId="{B631F706-114F-6B4B-B377-0D22CADAC5BE}" type="sibTrans" cxnId="{D39492EB-3035-754B-8D64-1AE51287BD5E}">
      <dgm:prSet/>
      <dgm:spPr/>
      <dgm:t>
        <a:bodyPr/>
        <a:lstStyle/>
        <a:p>
          <a:endParaRPr lang="en-US"/>
        </a:p>
      </dgm:t>
    </dgm:pt>
    <dgm:pt modelId="{3449CA0B-085B-7749-B88D-B2F1CBAE4B99}">
      <dgm:prSet phldrT="[Text]" custT="1"/>
      <dgm:spPr/>
      <dgm:t>
        <a:bodyPr/>
        <a:lstStyle/>
        <a:p>
          <a:r>
            <a:rPr lang="en-US" sz="1400" b="0" i="0" u="none" dirty="0"/>
            <a:t>States that define the status within the workflow</a:t>
          </a:r>
          <a:br>
            <a:rPr lang="en-US" sz="1400" b="0" i="0" u="none" dirty="0"/>
          </a:br>
          <a:endParaRPr lang="en-US" sz="1400" dirty="0"/>
        </a:p>
      </dgm:t>
    </dgm:pt>
    <dgm:pt modelId="{1C43AD30-7FC0-564B-A766-2458DF2E69E0}" type="parTrans" cxnId="{89DFD65B-02ED-4448-B722-A3F5F8E11187}">
      <dgm:prSet/>
      <dgm:spPr/>
      <dgm:t>
        <a:bodyPr/>
        <a:lstStyle/>
        <a:p>
          <a:endParaRPr lang="en-US"/>
        </a:p>
      </dgm:t>
    </dgm:pt>
    <dgm:pt modelId="{A09686E9-C949-9F4F-9A90-14AE7F054DF9}" type="sibTrans" cxnId="{89DFD65B-02ED-4448-B722-A3F5F8E11187}">
      <dgm:prSet/>
      <dgm:spPr/>
      <dgm:t>
        <a:bodyPr/>
        <a:lstStyle/>
        <a:p>
          <a:endParaRPr lang="en-US"/>
        </a:p>
      </dgm:t>
    </dgm:pt>
    <dgm:pt modelId="{74EEF99F-C04B-464D-AA6E-2ABE3105634C}">
      <dgm:prSet phldrT="[Text]"/>
      <dgm:spPr/>
      <dgm:t>
        <a:bodyPr/>
        <a:lstStyle/>
        <a:p>
          <a:endParaRPr lang="en-US" sz="1900" dirty="0"/>
        </a:p>
      </dgm:t>
    </dgm:pt>
    <dgm:pt modelId="{68EFC4DF-08A0-FF4E-B77B-D8305E73CB60}" type="parTrans" cxnId="{77FFF58D-858B-0547-BAD1-616902D27719}">
      <dgm:prSet/>
      <dgm:spPr/>
      <dgm:t>
        <a:bodyPr/>
        <a:lstStyle/>
        <a:p>
          <a:endParaRPr lang="en-US"/>
        </a:p>
      </dgm:t>
    </dgm:pt>
    <dgm:pt modelId="{AB0610CE-253F-7B4E-AF5B-51EFA1DA3176}" type="sibTrans" cxnId="{77FFF58D-858B-0547-BAD1-616902D27719}">
      <dgm:prSet/>
      <dgm:spPr/>
      <dgm:t>
        <a:bodyPr/>
        <a:lstStyle/>
        <a:p>
          <a:endParaRPr lang="en-US"/>
        </a:p>
      </dgm:t>
    </dgm:pt>
    <dgm:pt modelId="{72BFE7F6-A176-1B47-B070-566F06008D8C}">
      <dgm:prSet phldrT="[Text]"/>
      <dgm:spPr/>
      <dgm:t>
        <a:bodyPr/>
        <a:lstStyle/>
        <a:p>
          <a:r>
            <a:rPr lang="en-US" dirty="0"/>
            <a:t>Application Roles</a:t>
          </a:r>
        </a:p>
      </dgm:t>
    </dgm:pt>
    <dgm:pt modelId="{6296460E-5054-D444-AC51-E3DB89F21CCE}" type="parTrans" cxnId="{10A70716-29CE-FE44-BA03-48A47D324671}">
      <dgm:prSet/>
      <dgm:spPr/>
      <dgm:t>
        <a:bodyPr/>
        <a:lstStyle/>
        <a:p>
          <a:endParaRPr lang="en-US"/>
        </a:p>
      </dgm:t>
    </dgm:pt>
    <dgm:pt modelId="{AC214A4B-81DB-1847-BF7D-A045432B18AC}" type="sibTrans" cxnId="{10A70716-29CE-FE44-BA03-48A47D324671}">
      <dgm:prSet/>
      <dgm:spPr/>
      <dgm:t>
        <a:bodyPr/>
        <a:lstStyle/>
        <a:p>
          <a:endParaRPr lang="en-US"/>
        </a:p>
      </dgm:t>
    </dgm:pt>
    <dgm:pt modelId="{77CE68CE-4744-1E48-9CD9-6762BE8CF3E5}">
      <dgm:prSet phldrT="[Text]" custT="1"/>
      <dgm:spPr/>
      <dgm:t>
        <a:bodyPr/>
        <a:lstStyle/>
        <a:p>
          <a:r>
            <a:rPr lang="en-US" sz="1400" dirty="0"/>
            <a:t>Based on Personas</a:t>
          </a:r>
          <a:br>
            <a:rPr lang="en-US" sz="1400" dirty="0"/>
          </a:br>
          <a:endParaRPr lang="en-US" sz="1400" dirty="0"/>
        </a:p>
      </dgm:t>
    </dgm:pt>
    <dgm:pt modelId="{5A2A8D0B-AF86-4B47-BA2A-4A9FCA5112F5}" type="parTrans" cxnId="{5F32F18B-5F24-484F-8086-41258263B521}">
      <dgm:prSet/>
      <dgm:spPr/>
      <dgm:t>
        <a:bodyPr/>
        <a:lstStyle/>
        <a:p>
          <a:endParaRPr lang="en-US"/>
        </a:p>
      </dgm:t>
    </dgm:pt>
    <dgm:pt modelId="{B4FF8DBE-ED9B-314D-A9D4-F739EBDA79FA}" type="sibTrans" cxnId="{5F32F18B-5F24-484F-8086-41258263B521}">
      <dgm:prSet/>
      <dgm:spPr/>
      <dgm:t>
        <a:bodyPr/>
        <a:lstStyle/>
        <a:p>
          <a:endParaRPr lang="en-US"/>
        </a:p>
      </dgm:t>
    </dgm:pt>
    <dgm:pt modelId="{B0C1D075-519D-D541-B411-AA19E2440782}">
      <dgm:prSet phldrT="[Text]" custT="1"/>
      <dgm:spPr/>
      <dgm:t>
        <a:bodyPr/>
        <a:lstStyle/>
        <a:p>
          <a:r>
            <a:rPr lang="en-US" sz="1400" dirty="0"/>
            <a:t>Initiators start the workflow process</a:t>
          </a:r>
          <a:br>
            <a:rPr lang="en-US" sz="1400" dirty="0"/>
          </a:br>
          <a:endParaRPr lang="en-US" sz="1400" dirty="0"/>
        </a:p>
      </dgm:t>
    </dgm:pt>
    <dgm:pt modelId="{36D62F5A-F93E-114B-A35E-CBD70077A35D}" type="parTrans" cxnId="{AC37683B-1BB7-9449-B703-7E5680EE93AA}">
      <dgm:prSet/>
      <dgm:spPr/>
      <dgm:t>
        <a:bodyPr/>
        <a:lstStyle/>
        <a:p>
          <a:endParaRPr lang="en-US"/>
        </a:p>
      </dgm:t>
    </dgm:pt>
    <dgm:pt modelId="{028937EE-3E5F-3A42-B717-58AFEC735DDB}" type="sibTrans" cxnId="{AC37683B-1BB7-9449-B703-7E5680EE93AA}">
      <dgm:prSet/>
      <dgm:spPr/>
      <dgm:t>
        <a:bodyPr/>
        <a:lstStyle/>
        <a:p>
          <a:endParaRPr lang="en-US"/>
        </a:p>
      </dgm:t>
    </dgm:pt>
    <dgm:pt modelId="{DE0F52DB-5EE7-FE40-BFD8-0B4D5601F323}">
      <dgm:prSet phldrT="[Text]" custT="1"/>
      <dgm:spPr/>
      <dgm:t>
        <a:bodyPr/>
        <a:lstStyle/>
        <a:p>
          <a:r>
            <a:rPr lang="en-US" sz="1400" dirty="0"/>
            <a:t>Linked to security groups in Azure Active Directory</a:t>
          </a:r>
          <a:br>
            <a:rPr lang="en-US" sz="1400" dirty="0"/>
          </a:br>
          <a:endParaRPr lang="en-US" sz="1400" dirty="0"/>
        </a:p>
      </dgm:t>
    </dgm:pt>
    <dgm:pt modelId="{2EB32924-DDAF-1540-BDE0-E456B7A9442F}" type="parTrans" cxnId="{5E989A67-E22B-8543-81CD-2142806C5753}">
      <dgm:prSet/>
      <dgm:spPr/>
      <dgm:t>
        <a:bodyPr/>
        <a:lstStyle/>
        <a:p>
          <a:endParaRPr lang="en-US"/>
        </a:p>
      </dgm:t>
    </dgm:pt>
    <dgm:pt modelId="{D6307B99-4333-AF4D-BE11-26DE0D3F51A9}" type="sibTrans" cxnId="{5E989A67-E22B-8543-81CD-2142806C5753}">
      <dgm:prSet/>
      <dgm:spPr/>
      <dgm:t>
        <a:bodyPr/>
        <a:lstStyle/>
        <a:p>
          <a:endParaRPr lang="en-US"/>
        </a:p>
      </dgm:t>
    </dgm:pt>
    <dgm:pt modelId="{977BF214-530D-E541-B1C2-2A1FBB2286CD}">
      <dgm:prSet phldrT="[Text]" custT="1"/>
      <dgm:spPr/>
      <dgm:t>
        <a:bodyPr/>
        <a:lstStyle/>
        <a:p>
          <a:r>
            <a:rPr lang="en-US" sz="1400" dirty="0"/>
            <a:t>Participants modify workflow data</a:t>
          </a:r>
          <a:br>
            <a:rPr lang="en-US" sz="1400" dirty="0"/>
          </a:br>
          <a:endParaRPr lang="en-US" sz="1400" dirty="0"/>
        </a:p>
      </dgm:t>
    </dgm:pt>
    <dgm:pt modelId="{256354CA-5B13-944D-9191-EC46D2346C65}" type="parTrans" cxnId="{3626C794-6EC5-E049-BA04-83A85EFD6422}">
      <dgm:prSet/>
      <dgm:spPr/>
      <dgm:t>
        <a:bodyPr/>
        <a:lstStyle/>
        <a:p>
          <a:endParaRPr lang="en-US"/>
        </a:p>
      </dgm:t>
    </dgm:pt>
    <dgm:pt modelId="{9E0DD595-6F2F-6341-B7B8-41C7CD55033C}" type="sibTrans" cxnId="{3626C794-6EC5-E049-BA04-83A85EFD6422}">
      <dgm:prSet/>
      <dgm:spPr/>
      <dgm:t>
        <a:bodyPr/>
        <a:lstStyle/>
        <a:p>
          <a:endParaRPr lang="en-US"/>
        </a:p>
      </dgm:t>
    </dgm:pt>
    <dgm:pt modelId="{43F2E7D0-3E74-B845-BE41-42DB0FACEA8B}">
      <dgm:prSet phldrT="[Text]" custT="1"/>
      <dgm:spPr/>
      <dgm:t>
        <a:bodyPr/>
        <a:lstStyle/>
        <a:p>
          <a:r>
            <a:rPr lang="en-US" sz="1400" dirty="0"/>
            <a:t>Observers have read-only access</a:t>
          </a:r>
        </a:p>
      </dgm:t>
    </dgm:pt>
    <dgm:pt modelId="{675EC152-EC54-6743-92F6-22A4CD25A76D}" type="parTrans" cxnId="{7A7808F7-036D-E14B-BF51-437DF1337C4F}">
      <dgm:prSet/>
      <dgm:spPr/>
      <dgm:t>
        <a:bodyPr/>
        <a:lstStyle/>
        <a:p>
          <a:endParaRPr lang="en-US"/>
        </a:p>
      </dgm:t>
    </dgm:pt>
    <dgm:pt modelId="{DCF8342D-5DEC-5B46-9FB0-F38922BDD4C8}" type="sibTrans" cxnId="{7A7808F7-036D-E14B-BF51-437DF1337C4F}">
      <dgm:prSet/>
      <dgm:spPr/>
      <dgm:t>
        <a:bodyPr/>
        <a:lstStyle/>
        <a:p>
          <a:endParaRPr lang="en-US"/>
        </a:p>
      </dgm:t>
    </dgm:pt>
    <dgm:pt modelId="{2BDD560E-259A-1043-B69F-4E50683D23B4}">
      <dgm:prSet phldrT="[Text]" custT="1"/>
      <dgm:spPr/>
      <dgm:t>
        <a:bodyPr/>
        <a:lstStyle/>
        <a:p>
          <a:r>
            <a:rPr lang="en-US" sz="1400" dirty="0"/>
            <a:t>Each workflow consists of one or more smart contracts, which represent the business logic in code files.</a:t>
          </a:r>
        </a:p>
      </dgm:t>
    </dgm:pt>
    <dgm:pt modelId="{AB896C38-77DF-EA4F-951C-9C08278E7A6C}" type="parTrans" cxnId="{8939B885-AA08-CC44-98A9-F0D04D593118}">
      <dgm:prSet/>
      <dgm:spPr/>
      <dgm:t>
        <a:bodyPr/>
        <a:lstStyle/>
        <a:p>
          <a:endParaRPr lang="en-US"/>
        </a:p>
      </dgm:t>
    </dgm:pt>
    <dgm:pt modelId="{F35080B0-4799-6B46-9CCD-695C96AA4106}" type="sibTrans" cxnId="{8939B885-AA08-CC44-98A9-F0D04D593118}">
      <dgm:prSet/>
      <dgm:spPr/>
      <dgm:t>
        <a:bodyPr/>
        <a:lstStyle/>
        <a:p>
          <a:endParaRPr lang="en-US"/>
        </a:p>
      </dgm:t>
    </dgm:pt>
    <dgm:pt modelId="{419EBB9F-C03F-A740-AC96-D56E80F9FA41}">
      <dgm:prSet phldrT="[Text]" custT="1"/>
      <dgm:spPr/>
      <dgm:t>
        <a:bodyPr/>
        <a:lstStyle/>
        <a:p>
          <a:r>
            <a:rPr lang="en-US" sz="1400" dirty="0"/>
            <a:t>Maps to the Available Actions on the previous slide</a:t>
          </a:r>
        </a:p>
      </dgm:t>
    </dgm:pt>
    <dgm:pt modelId="{0505B23F-4979-4A46-B41F-1BB468E4A874}" type="parTrans" cxnId="{DD238F8C-01D5-3241-B821-FC71580B2F78}">
      <dgm:prSet/>
      <dgm:spPr/>
      <dgm:t>
        <a:bodyPr/>
        <a:lstStyle/>
        <a:p>
          <a:endParaRPr lang="en-US"/>
        </a:p>
      </dgm:t>
    </dgm:pt>
    <dgm:pt modelId="{A45394D3-70AF-C84C-86C2-14E3CD07E290}" type="sibTrans" cxnId="{DD238F8C-01D5-3241-B821-FC71580B2F78}">
      <dgm:prSet/>
      <dgm:spPr/>
      <dgm:t>
        <a:bodyPr/>
        <a:lstStyle/>
        <a:p>
          <a:endParaRPr lang="en-US"/>
        </a:p>
      </dgm:t>
    </dgm:pt>
    <dgm:pt modelId="{D9559979-0B73-E640-90E8-C442F27E4284}">
      <dgm:prSet phldrT="[Text]" custT="1"/>
      <dgm:spPr/>
      <dgm:t>
        <a:bodyPr/>
        <a:lstStyle/>
        <a:p>
          <a:r>
            <a:rPr lang="en-US" sz="1400" dirty="0"/>
            <a:t>Maps to the current state and target state columns on the previous slide</a:t>
          </a:r>
        </a:p>
      </dgm:t>
    </dgm:pt>
    <dgm:pt modelId="{B8D5AC29-FC6A-B743-B6EF-798C17812C83}" type="parTrans" cxnId="{2F823051-3B38-024B-8320-EE4F3C1B0823}">
      <dgm:prSet/>
      <dgm:spPr/>
      <dgm:t>
        <a:bodyPr/>
        <a:lstStyle/>
        <a:p>
          <a:endParaRPr lang="en-US"/>
        </a:p>
      </dgm:t>
    </dgm:pt>
    <dgm:pt modelId="{0E886659-4D9F-D94F-AD11-82CB254D9D56}" type="sibTrans" cxnId="{2F823051-3B38-024B-8320-EE4F3C1B0823}">
      <dgm:prSet/>
      <dgm:spPr/>
      <dgm:t>
        <a:bodyPr/>
        <a:lstStyle/>
        <a:p>
          <a:endParaRPr lang="en-US"/>
        </a:p>
      </dgm:t>
    </dgm:pt>
    <dgm:pt modelId="{4DC0EBFF-FB11-7944-B7B9-BEDD77F14730}">
      <dgm:prSet phldrT="[Text]" custT="1"/>
      <dgm:spPr/>
      <dgm:t>
        <a:bodyPr/>
        <a:lstStyle/>
        <a:p>
          <a:r>
            <a:rPr lang="en-US" sz="1400" b="0" i="0" u="none" dirty="0"/>
            <a:t>Available actions to the next state</a:t>
          </a:r>
          <a:br>
            <a:rPr lang="en-US" sz="1400" b="0" i="0" u="none" dirty="0"/>
          </a:br>
          <a:endParaRPr lang="en-US" sz="1400" dirty="0"/>
        </a:p>
      </dgm:t>
    </dgm:pt>
    <dgm:pt modelId="{8EE52794-94D3-2848-863C-AE17D67CB247}" type="parTrans" cxnId="{910733E4-7DC3-AB45-BB60-EC5C5A340AA2}">
      <dgm:prSet/>
      <dgm:spPr/>
      <dgm:t>
        <a:bodyPr/>
        <a:lstStyle/>
        <a:p>
          <a:endParaRPr lang="en-US"/>
        </a:p>
      </dgm:t>
    </dgm:pt>
    <dgm:pt modelId="{22811381-C412-D048-8843-09483837A57F}" type="sibTrans" cxnId="{910733E4-7DC3-AB45-BB60-EC5C5A340AA2}">
      <dgm:prSet/>
      <dgm:spPr/>
      <dgm:t>
        <a:bodyPr/>
        <a:lstStyle/>
        <a:p>
          <a:endParaRPr lang="en-US"/>
        </a:p>
      </dgm:t>
    </dgm:pt>
    <dgm:pt modelId="{55772C64-5BD1-884E-8948-C8C5A62DC605}">
      <dgm:prSet phldrT="[Text]" custT="1"/>
      <dgm:spPr/>
      <dgm:t>
        <a:bodyPr/>
        <a:lstStyle/>
        <a:p>
          <a:r>
            <a:rPr lang="en-US" sz="1400" b="0" i="0" u="none" dirty="0"/>
            <a:t>One or more user roles may perform an action at each state, where an action may transition a state to another state in the workflow</a:t>
          </a:r>
          <a:endParaRPr lang="en-US" sz="1400" dirty="0"/>
        </a:p>
      </dgm:t>
    </dgm:pt>
    <dgm:pt modelId="{D6CB8975-DE2C-0C49-A83C-501FB5DCF132}" type="parTrans" cxnId="{3BDB6F51-50D3-9647-8E43-D5612CEE571E}">
      <dgm:prSet/>
      <dgm:spPr/>
      <dgm:t>
        <a:bodyPr/>
        <a:lstStyle/>
        <a:p>
          <a:endParaRPr lang="en-US"/>
        </a:p>
      </dgm:t>
    </dgm:pt>
    <dgm:pt modelId="{CDC13A5D-607C-9544-A548-798298B476AF}" type="sibTrans" cxnId="{3BDB6F51-50D3-9647-8E43-D5612CEE571E}">
      <dgm:prSet/>
      <dgm:spPr/>
      <dgm:t>
        <a:bodyPr/>
        <a:lstStyle/>
        <a:p>
          <a:endParaRPr lang="en-US"/>
        </a:p>
      </dgm:t>
    </dgm:pt>
    <dgm:pt modelId="{A0ED3AAA-DC34-4245-958B-1C17AB663406}" type="pres">
      <dgm:prSet presAssocID="{601D3C9A-68CD-1945-ADB7-DA2E05599C5A}" presName="Name0" presStyleCnt="0">
        <dgm:presLayoutVars>
          <dgm:dir/>
          <dgm:animLvl val="lvl"/>
          <dgm:resizeHandles val="exact"/>
        </dgm:presLayoutVars>
      </dgm:prSet>
      <dgm:spPr/>
    </dgm:pt>
    <dgm:pt modelId="{B0D320FC-2E80-9243-9808-8FFF28CC6DAB}" type="pres">
      <dgm:prSet presAssocID="{72BFE7F6-A176-1B47-B070-566F06008D8C}" presName="composite" presStyleCnt="0"/>
      <dgm:spPr/>
    </dgm:pt>
    <dgm:pt modelId="{6C8C16B2-2954-C647-80EE-0BB68CE5C548}" type="pres">
      <dgm:prSet presAssocID="{72BFE7F6-A176-1B47-B070-566F06008D8C}" presName="parTx" presStyleLbl="alignNode1" presStyleIdx="0" presStyleCnt="6">
        <dgm:presLayoutVars>
          <dgm:chMax val="0"/>
          <dgm:chPref val="0"/>
          <dgm:bulletEnabled val="1"/>
        </dgm:presLayoutVars>
      </dgm:prSet>
      <dgm:spPr/>
    </dgm:pt>
    <dgm:pt modelId="{C2EE137D-227C-8B41-9CEF-F090A9F97D68}" type="pres">
      <dgm:prSet presAssocID="{72BFE7F6-A176-1B47-B070-566F06008D8C}" presName="desTx" presStyleLbl="alignAccFollowNode1" presStyleIdx="0" presStyleCnt="6">
        <dgm:presLayoutVars>
          <dgm:bulletEnabled val="1"/>
        </dgm:presLayoutVars>
      </dgm:prSet>
      <dgm:spPr/>
    </dgm:pt>
    <dgm:pt modelId="{A2464513-277E-0947-AAEF-04F6AE2F20A4}" type="pres">
      <dgm:prSet presAssocID="{AC214A4B-81DB-1847-BF7D-A045432B18AC}" presName="space" presStyleCnt="0"/>
      <dgm:spPr/>
    </dgm:pt>
    <dgm:pt modelId="{69D527AC-4091-1346-A593-21DCC20F4CD2}" type="pres">
      <dgm:prSet presAssocID="{EF6F7FB3-D3E5-4548-BD1E-B72774CF5B92}" presName="composite" presStyleCnt="0"/>
      <dgm:spPr/>
    </dgm:pt>
    <dgm:pt modelId="{F559DA8F-9B70-E042-87E3-BAA2CDF72A58}" type="pres">
      <dgm:prSet presAssocID="{EF6F7FB3-D3E5-4548-BD1E-B72774CF5B92}" presName="parTx" presStyleLbl="alignNode1" presStyleIdx="1" presStyleCnt="6">
        <dgm:presLayoutVars>
          <dgm:chMax val="0"/>
          <dgm:chPref val="0"/>
          <dgm:bulletEnabled val="1"/>
        </dgm:presLayoutVars>
      </dgm:prSet>
      <dgm:spPr/>
    </dgm:pt>
    <dgm:pt modelId="{F4029437-CD94-9243-A4E6-230F610E13A7}" type="pres">
      <dgm:prSet presAssocID="{EF6F7FB3-D3E5-4548-BD1E-B72774CF5B92}" presName="desTx" presStyleLbl="alignAccFollowNode1" presStyleIdx="1" presStyleCnt="6">
        <dgm:presLayoutVars>
          <dgm:bulletEnabled val="1"/>
        </dgm:presLayoutVars>
      </dgm:prSet>
      <dgm:spPr/>
    </dgm:pt>
    <dgm:pt modelId="{11938A7F-2459-F64D-895E-B6AD2A84019D}" type="pres">
      <dgm:prSet presAssocID="{3EE142BA-28AD-B148-A13A-EC6787931D89}" presName="space" presStyleCnt="0"/>
      <dgm:spPr/>
    </dgm:pt>
    <dgm:pt modelId="{2951423E-C911-9B43-ADFF-461A2AFE3377}" type="pres">
      <dgm:prSet presAssocID="{2FB6C851-BFD2-3B40-A74C-E0990FBE416A}" presName="composite" presStyleCnt="0"/>
      <dgm:spPr/>
    </dgm:pt>
    <dgm:pt modelId="{8676B8BF-5D93-364A-B177-E7FD628083CA}" type="pres">
      <dgm:prSet presAssocID="{2FB6C851-BFD2-3B40-A74C-E0990FBE416A}" presName="parTx" presStyleLbl="alignNode1" presStyleIdx="2" presStyleCnt="6">
        <dgm:presLayoutVars>
          <dgm:chMax val="0"/>
          <dgm:chPref val="0"/>
          <dgm:bulletEnabled val="1"/>
        </dgm:presLayoutVars>
      </dgm:prSet>
      <dgm:spPr/>
    </dgm:pt>
    <dgm:pt modelId="{7186DE0A-A468-F844-8F3D-BC4EBCFEBA62}" type="pres">
      <dgm:prSet presAssocID="{2FB6C851-BFD2-3B40-A74C-E0990FBE416A}" presName="desTx" presStyleLbl="alignAccFollowNode1" presStyleIdx="2" presStyleCnt="6">
        <dgm:presLayoutVars>
          <dgm:bulletEnabled val="1"/>
        </dgm:presLayoutVars>
      </dgm:prSet>
      <dgm:spPr/>
    </dgm:pt>
    <dgm:pt modelId="{3AC3ACB8-807E-604C-8E3A-3CD69377C72A}" type="pres">
      <dgm:prSet presAssocID="{D8C50E35-3552-B448-B86F-D91AA94E1D78}" presName="space" presStyleCnt="0"/>
      <dgm:spPr/>
    </dgm:pt>
    <dgm:pt modelId="{95B24CD4-4F2F-AE4E-BB09-A3D301E9DD1F}" type="pres">
      <dgm:prSet presAssocID="{EAA399BC-9721-B743-908A-4746BA10215A}" presName="composite" presStyleCnt="0"/>
      <dgm:spPr/>
    </dgm:pt>
    <dgm:pt modelId="{0F2E45FF-7FE9-FF49-8DB5-095D84C0F1B7}" type="pres">
      <dgm:prSet presAssocID="{EAA399BC-9721-B743-908A-4746BA10215A}" presName="parTx" presStyleLbl="alignNode1" presStyleIdx="3" presStyleCnt="6">
        <dgm:presLayoutVars>
          <dgm:chMax val="0"/>
          <dgm:chPref val="0"/>
          <dgm:bulletEnabled val="1"/>
        </dgm:presLayoutVars>
      </dgm:prSet>
      <dgm:spPr/>
    </dgm:pt>
    <dgm:pt modelId="{2564D77F-41EC-7E4A-A245-9110782AA240}" type="pres">
      <dgm:prSet presAssocID="{EAA399BC-9721-B743-908A-4746BA10215A}" presName="desTx" presStyleLbl="alignAccFollowNode1" presStyleIdx="3" presStyleCnt="6">
        <dgm:presLayoutVars>
          <dgm:bulletEnabled val="1"/>
        </dgm:presLayoutVars>
      </dgm:prSet>
      <dgm:spPr/>
    </dgm:pt>
    <dgm:pt modelId="{9C501F13-EA3C-4147-AD30-2F4EFBDDBF6D}" type="pres">
      <dgm:prSet presAssocID="{68227547-BC39-C347-B8C5-E1BC84A76011}" presName="space" presStyleCnt="0"/>
      <dgm:spPr/>
    </dgm:pt>
    <dgm:pt modelId="{327C4128-FFE2-EA43-9A30-3D5C39C803F1}" type="pres">
      <dgm:prSet presAssocID="{4AC71D21-1492-3348-B7A6-5C2BCBD902D5}" presName="composite" presStyleCnt="0"/>
      <dgm:spPr/>
    </dgm:pt>
    <dgm:pt modelId="{0E32FB3D-56EA-B24A-9E94-469C9E603473}" type="pres">
      <dgm:prSet presAssocID="{4AC71D21-1492-3348-B7A6-5C2BCBD902D5}" presName="parTx" presStyleLbl="alignNode1" presStyleIdx="4" presStyleCnt="6">
        <dgm:presLayoutVars>
          <dgm:chMax val="0"/>
          <dgm:chPref val="0"/>
          <dgm:bulletEnabled val="1"/>
        </dgm:presLayoutVars>
      </dgm:prSet>
      <dgm:spPr/>
    </dgm:pt>
    <dgm:pt modelId="{FDEEE735-727B-4C43-89AB-134B242C80FB}" type="pres">
      <dgm:prSet presAssocID="{4AC71D21-1492-3348-B7A6-5C2BCBD902D5}" presName="desTx" presStyleLbl="alignAccFollowNode1" presStyleIdx="4" presStyleCnt="6">
        <dgm:presLayoutVars>
          <dgm:bulletEnabled val="1"/>
        </dgm:presLayoutVars>
      </dgm:prSet>
      <dgm:spPr/>
    </dgm:pt>
    <dgm:pt modelId="{8CBF199C-592F-AD4C-BCD1-0F445E6DC00D}" type="pres">
      <dgm:prSet presAssocID="{EBA507D5-0C59-254B-A7F5-1D1427C5D840}" presName="space" presStyleCnt="0"/>
      <dgm:spPr/>
    </dgm:pt>
    <dgm:pt modelId="{24137B87-3789-D844-8C6A-C051303B27EA}" type="pres">
      <dgm:prSet presAssocID="{80FFFCBF-D80C-E747-9FB3-93483E5A3463}" presName="composite" presStyleCnt="0"/>
      <dgm:spPr/>
    </dgm:pt>
    <dgm:pt modelId="{95CEB0E8-8927-BF43-8014-0266F220DF5D}" type="pres">
      <dgm:prSet presAssocID="{80FFFCBF-D80C-E747-9FB3-93483E5A3463}" presName="parTx" presStyleLbl="alignNode1" presStyleIdx="5" presStyleCnt="6">
        <dgm:presLayoutVars>
          <dgm:chMax val="0"/>
          <dgm:chPref val="0"/>
          <dgm:bulletEnabled val="1"/>
        </dgm:presLayoutVars>
      </dgm:prSet>
      <dgm:spPr/>
    </dgm:pt>
    <dgm:pt modelId="{6CF2DC70-6E6F-0441-8D11-4FC560C5011F}" type="pres">
      <dgm:prSet presAssocID="{80FFFCBF-D80C-E747-9FB3-93483E5A3463}" presName="desTx" presStyleLbl="alignAccFollowNode1" presStyleIdx="5" presStyleCnt="6">
        <dgm:presLayoutVars>
          <dgm:bulletEnabled val="1"/>
        </dgm:presLayoutVars>
      </dgm:prSet>
      <dgm:spPr/>
    </dgm:pt>
  </dgm:ptLst>
  <dgm:cxnLst>
    <dgm:cxn modelId="{B832FA00-B44B-3547-806F-37DF15442267}" type="presOf" srcId="{74EEF99F-C04B-464D-AA6E-2ABE3105634C}" destId="{FDEEE735-727B-4C43-89AB-134B242C80FB}" srcOrd="0" destOrd="2" presId="urn:microsoft.com/office/officeart/2005/8/layout/hList1"/>
    <dgm:cxn modelId="{D927760D-AA96-5046-B45C-31EC7286B247}" srcId="{2FB6C851-BFD2-3B40-A74C-E0990FBE416A}" destId="{7F9CA40A-FB21-EB4C-90CE-2B1CFA54D562}" srcOrd="0" destOrd="0" parTransId="{FB56CC65-3174-5942-901F-78F5D60CB511}" sibTransId="{26F71CCA-6513-B64B-9C8D-920A4BD6E55C}"/>
    <dgm:cxn modelId="{0627ED0F-9693-5541-A882-2F1BF1885277}" type="presOf" srcId="{2FB6C851-BFD2-3B40-A74C-E0990FBE416A}" destId="{8676B8BF-5D93-364A-B177-E7FD628083CA}" srcOrd="0" destOrd="0" presId="urn:microsoft.com/office/officeart/2005/8/layout/hList1"/>
    <dgm:cxn modelId="{B02B8213-A404-DF45-8319-3BC5C40E389E}" srcId="{EAA399BC-9721-B743-908A-4746BA10215A}" destId="{FDF5CD54-EA25-3942-956C-82E1908345B4}" srcOrd="0" destOrd="0" parTransId="{59CBB45F-ADCE-0B42-BA75-814208F7085B}" sibTransId="{2F47B318-1ACE-5C49-A4AA-991153F8B598}"/>
    <dgm:cxn modelId="{10A70716-29CE-FE44-BA03-48A47D324671}" srcId="{601D3C9A-68CD-1945-ADB7-DA2E05599C5A}" destId="{72BFE7F6-A176-1B47-B070-566F06008D8C}" srcOrd="0" destOrd="0" parTransId="{6296460E-5054-D444-AC51-E3DB89F21CCE}" sibTransId="{AC214A4B-81DB-1847-BF7D-A045432B18AC}"/>
    <dgm:cxn modelId="{12741625-C4BE-9146-AF75-0D64861D1EB2}" type="presOf" srcId="{3F6B1B6C-C2FD-1C47-8097-F4FA7254109B}" destId="{2564D77F-41EC-7E4A-A245-9110782AA240}" srcOrd="0" destOrd="1" presId="urn:microsoft.com/office/officeart/2005/8/layout/hList1"/>
    <dgm:cxn modelId="{214AEC25-2A3B-1A43-B0C9-5CECC3A466F0}" srcId="{601D3C9A-68CD-1945-ADB7-DA2E05599C5A}" destId="{EAA399BC-9721-B743-908A-4746BA10215A}" srcOrd="3" destOrd="0" parTransId="{9D19C632-3919-DE45-880A-E2AD016F0B25}" sibTransId="{68227547-BC39-C347-B8C5-E1BC84A76011}"/>
    <dgm:cxn modelId="{53EA6F34-717A-0C4E-8F53-E1DE64CD8FC2}" type="presOf" srcId="{EAA399BC-9721-B743-908A-4746BA10215A}" destId="{0F2E45FF-7FE9-FF49-8DB5-095D84C0F1B7}" srcOrd="0" destOrd="0" presId="urn:microsoft.com/office/officeart/2005/8/layout/hList1"/>
    <dgm:cxn modelId="{AC37683B-1BB7-9449-B703-7E5680EE93AA}" srcId="{72BFE7F6-A176-1B47-B070-566F06008D8C}" destId="{B0C1D075-519D-D541-B411-AA19E2440782}" srcOrd="2" destOrd="0" parTransId="{36D62F5A-F93E-114B-A35E-CBD70077A35D}" sibTransId="{028937EE-3E5F-3A42-B717-58AFEC735DDB}"/>
    <dgm:cxn modelId="{8E5F4E3B-55A3-1D4D-94BB-BDFBEEB5D40C}" type="presOf" srcId="{FDF5CD54-EA25-3942-956C-82E1908345B4}" destId="{2564D77F-41EC-7E4A-A245-9110782AA240}" srcOrd="0" destOrd="0" presId="urn:microsoft.com/office/officeart/2005/8/layout/hList1"/>
    <dgm:cxn modelId="{89DFD65B-02ED-4448-B722-A3F5F8E11187}" srcId="{4AC71D21-1492-3348-B7A6-5C2BCBD902D5}" destId="{3449CA0B-085B-7749-B88D-B2F1CBAE4B99}" srcOrd="0" destOrd="0" parTransId="{1C43AD30-7FC0-564B-A766-2458DF2E69E0}" sibTransId="{A09686E9-C949-9F4F-9A90-14AE7F054DF9}"/>
    <dgm:cxn modelId="{9F17495E-19D1-7D40-BCE4-17779A304E97}" type="presOf" srcId="{601D3C9A-68CD-1945-ADB7-DA2E05599C5A}" destId="{A0ED3AAA-DC34-4245-958B-1C17AB663406}" srcOrd="0" destOrd="0" presId="urn:microsoft.com/office/officeart/2005/8/layout/hList1"/>
    <dgm:cxn modelId="{566BC760-462F-1347-8C8C-1F9352B5FAB0}" srcId="{2FB6C851-BFD2-3B40-A74C-E0990FBE416A}" destId="{0572007E-4073-C647-B20C-6FBBED67E818}" srcOrd="1" destOrd="0" parTransId="{3E7BD8DD-63F0-534F-AC45-93135C8340A4}" sibTransId="{0D4E0869-FC29-F242-BDBC-3E8F1DE89E82}"/>
    <dgm:cxn modelId="{1CBE6244-D81F-D245-A2B7-A95AC4FF71EE}" type="presOf" srcId="{4DC0EBFF-FB11-7944-B7B9-BEDD77F14730}" destId="{6CF2DC70-6E6F-0441-8D11-4FC560C5011F}" srcOrd="0" destOrd="0" presId="urn:microsoft.com/office/officeart/2005/8/layout/hList1"/>
    <dgm:cxn modelId="{99D95444-5B44-3347-8C58-07D0DA2919E5}" type="presOf" srcId="{2BDD560E-259A-1043-B69F-4E50683D23B4}" destId="{F4029437-CD94-9243-A4E6-230F610E13A7}" srcOrd="0" destOrd="1" presId="urn:microsoft.com/office/officeart/2005/8/layout/hList1"/>
    <dgm:cxn modelId="{9C486367-1AE4-0348-93C0-F1DCE69ED173}" type="presOf" srcId="{DE0F52DB-5EE7-FE40-BFD8-0B4D5601F323}" destId="{C2EE137D-227C-8B41-9CEF-F090A9F97D68}" srcOrd="0" destOrd="1" presId="urn:microsoft.com/office/officeart/2005/8/layout/hList1"/>
    <dgm:cxn modelId="{5E989A67-E22B-8543-81CD-2142806C5753}" srcId="{72BFE7F6-A176-1B47-B070-566F06008D8C}" destId="{DE0F52DB-5EE7-FE40-BFD8-0B4D5601F323}" srcOrd="1" destOrd="0" parTransId="{2EB32924-DDAF-1540-BDE0-E456B7A9442F}" sibTransId="{D6307B99-4333-AF4D-BE11-26DE0D3F51A9}"/>
    <dgm:cxn modelId="{F6B7C667-F7D9-AE4C-B15E-F158C7A45FAF}" srcId="{EF6F7FB3-D3E5-4548-BD1E-B72774CF5B92}" destId="{61897AD0-23B2-154C-86D2-E400A5896A0E}" srcOrd="0" destOrd="0" parTransId="{2AFF3A5B-30E9-BF44-86B7-A93B6D95B237}" sibTransId="{EE034AE8-6B16-2D49-88B4-99C48610820A}"/>
    <dgm:cxn modelId="{769C4B4E-24E4-9F41-9608-FE4526AD66F9}" type="presOf" srcId="{3449CA0B-085B-7749-B88D-B2F1CBAE4B99}" destId="{FDEEE735-727B-4C43-89AB-134B242C80FB}" srcOrd="0" destOrd="0" presId="urn:microsoft.com/office/officeart/2005/8/layout/hList1"/>
    <dgm:cxn modelId="{2F823051-3B38-024B-8320-EE4F3C1B0823}" srcId="{4AC71D21-1492-3348-B7A6-5C2BCBD902D5}" destId="{D9559979-0B73-E640-90E8-C442F27E4284}" srcOrd="1" destOrd="0" parTransId="{B8D5AC29-FC6A-B743-B6EF-798C17812C83}" sibTransId="{0E886659-4D9F-D94F-AD11-82CB254D9D56}"/>
    <dgm:cxn modelId="{3BDB6F51-50D3-9647-8E43-D5612CEE571E}" srcId="{80FFFCBF-D80C-E747-9FB3-93483E5A3463}" destId="{55772C64-5BD1-884E-8948-C8C5A62DC605}" srcOrd="1" destOrd="0" parTransId="{D6CB8975-DE2C-0C49-A83C-501FB5DCF132}" sibTransId="{CDC13A5D-607C-9544-A548-798298B476AF}"/>
    <dgm:cxn modelId="{BE905F82-9FCC-004A-A0F6-A9FF26C784DD}" srcId="{EAA399BC-9721-B743-908A-4746BA10215A}" destId="{3F6B1B6C-C2FD-1C47-8097-F4FA7254109B}" srcOrd="1" destOrd="0" parTransId="{813B38D7-AB05-6B4C-8AF3-3347A563928B}" sibTransId="{AE024315-D86F-F54A-AE4D-969E581EC9AB}"/>
    <dgm:cxn modelId="{8939B885-AA08-CC44-98A9-F0D04D593118}" srcId="{EF6F7FB3-D3E5-4548-BD1E-B72774CF5B92}" destId="{2BDD560E-259A-1043-B69F-4E50683D23B4}" srcOrd="1" destOrd="0" parTransId="{AB896C38-77DF-EA4F-951C-9C08278E7A6C}" sibTransId="{F35080B0-4799-6B46-9CCD-695C96AA4106}"/>
    <dgm:cxn modelId="{8C386387-C1D4-1D4F-89C6-8384CD3BA9E1}" type="presOf" srcId="{7F9CA40A-FB21-EB4C-90CE-2B1CFA54D562}" destId="{7186DE0A-A468-F844-8F3D-BC4EBCFEBA62}" srcOrd="0" destOrd="0" presId="urn:microsoft.com/office/officeart/2005/8/layout/hList1"/>
    <dgm:cxn modelId="{5F32F18B-5F24-484F-8086-41258263B521}" srcId="{72BFE7F6-A176-1B47-B070-566F06008D8C}" destId="{77CE68CE-4744-1E48-9CD9-6762BE8CF3E5}" srcOrd="0" destOrd="0" parTransId="{5A2A8D0B-AF86-4B47-BA2A-4A9FCA5112F5}" sibTransId="{B4FF8DBE-ED9B-314D-A9D4-F739EBDA79FA}"/>
    <dgm:cxn modelId="{DD238F8C-01D5-3241-B821-FC71580B2F78}" srcId="{EAA399BC-9721-B743-908A-4746BA10215A}" destId="{419EBB9F-C03F-A740-AC96-D56E80F9FA41}" srcOrd="2" destOrd="0" parTransId="{0505B23F-4979-4A46-B41F-1BB468E4A874}" sibTransId="{A45394D3-70AF-C84C-86C2-14E3CD07E290}"/>
    <dgm:cxn modelId="{77FFF58D-858B-0547-BAD1-616902D27719}" srcId="{4AC71D21-1492-3348-B7A6-5C2BCBD902D5}" destId="{74EEF99F-C04B-464D-AA6E-2ABE3105634C}" srcOrd="2" destOrd="0" parTransId="{68EFC4DF-08A0-FF4E-B77B-D8305E73CB60}" sibTransId="{AB0610CE-253F-7B4E-AF5B-51EFA1DA3176}"/>
    <dgm:cxn modelId="{3DBAD693-BC74-6743-87FB-1D5EF5A6893F}" type="presOf" srcId="{B0C1D075-519D-D541-B411-AA19E2440782}" destId="{C2EE137D-227C-8B41-9CEF-F090A9F97D68}" srcOrd="0" destOrd="2" presId="urn:microsoft.com/office/officeart/2005/8/layout/hList1"/>
    <dgm:cxn modelId="{3626C794-6EC5-E049-BA04-83A85EFD6422}" srcId="{72BFE7F6-A176-1B47-B070-566F06008D8C}" destId="{977BF214-530D-E541-B1C2-2A1FBB2286CD}" srcOrd="3" destOrd="0" parTransId="{256354CA-5B13-944D-9191-EC46D2346C65}" sibTransId="{9E0DD595-6F2F-6341-B7B8-41C7CD55033C}"/>
    <dgm:cxn modelId="{3A050897-5ABB-B34D-B5AC-89D2FF4951A1}" type="presOf" srcId="{D9559979-0B73-E640-90E8-C442F27E4284}" destId="{FDEEE735-727B-4C43-89AB-134B242C80FB}" srcOrd="0" destOrd="1" presId="urn:microsoft.com/office/officeart/2005/8/layout/hList1"/>
    <dgm:cxn modelId="{814C29A0-6C09-4747-8685-2C1D24305930}" type="presOf" srcId="{72BFE7F6-A176-1B47-B070-566F06008D8C}" destId="{6C8C16B2-2954-C647-80EE-0BB68CE5C548}" srcOrd="0" destOrd="0" presId="urn:microsoft.com/office/officeart/2005/8/layout/hList1"/>
    <dgm:cxn modelId="{4E5E23AE-F847-F245-B4D9-A1C962CFFF26}" srcId="{601D3C9A-68CD-1945-ADB7-DA2E05599C5A}" destId="{2FB6C851-BFD2-3B40-A74C-E0990FBE416A}" srcOrd="2" destOrd="0" parTransId="{69ED7902-97D8-9649-A75F-28025A394F19}" sibTransId="{D8C50E35-3552-B448-B86F-D91AA94E1D78}"/>
    <dgm:cxn modelId="{45EA61AF-A35A-2940-92CD-23E49862A05D}" type="presOf" srcId="{EF6F7FB3-D3E5-4548-BD1E-B72774CF5B92}" destId="{F559DA8F-9B70-E042-87E3-BAA2CDF72A58}" srcOrd="0" destOrd="0" presId="urn:microsoft.com/office/officeart/2005/8/layout/hList1"/>
    <dgm:cxn modelId="{83CB9CB0-E72E-874D-9CBA-3C6EAC870F73}" type="presOf" srcId="{0572007E-4073-C647-B20C-6FBBED67E818}" destId="{7186DE0A-A468-F844-8F3D-BC4EBCFEBA62}" srcOrd="0" destOrd="1" presId="urn:microsoft.com/office/officeart/2005/8/layout/hList1"/>
    <dgm:cxn modelId="{DE3174B8-B8B2-AC48-9AB4-80E8937DFB44}" type="presOf" srcId="{61897AD0-23B2-154C-86D2-E400A5896A0E}" destId="{F4029437-CD94-9243-A4E6-230F610E13A7}" srcOrd="0" destOrd="0" presId="urn:microsoft.com/office/officeart/2005/8/layout/hList1"/>
    <dgm:cxn modelId="{789668BE-3D51-284E-9247-5641DB654EEC}" type="presOf" srcId="{55772C64-5BD1-884E-8948-C8C5A62DC605}" destId="{6CF2DC70-6E6F-0441-8D11-4FC560C5011F}" srcOrd="0" destOrd="1" presId="urn:microsoft.com/office/officeart/2005/8/layout/hList1"/>
    <dgm:cxn modelId="{C926C7C9-D26C-EB45-8190-82A256F827A2}" srcId="{601D3C9A-68CD-1945-ADB7-DA2E05599C5A}" destId="{EF6F7FB3-D3E5-4548-BD1E-B72774CF5B92}" srcOrd="1" destOrd="0" parTransId="{45730361-F738-1D4E-A3C5-411A94807EC9}" sibTransId="{3EE142BA-28AD-B148-A13A-EC6787931D89}"/>
    <dgm:cxn modelId="{D73A96D0-6EDE-6A41-9045-29B881487519}" type="presOf" srcId="{419EBB9F-C03F-A740-AC96-D56E80F9FA41}" destId="{2564D77F-41EC-7E4A-A245-9110782AA240}" srcOrd="0" destOrd="2" presId="urn:microsoft.com/office/officeart/2005/8/layout/hList1"/>
    <dgm:cxn modelId="{E526FCD6-C884-6845-85BA-6FBF5C07571C}" type="presOf" srcId="{80FFFCBF-D80C-E747-9FB3-93483E5A3463}" destId="{95CEB0E8-8927-BF43-8014-0266F220DF5D}" srcOrd="0" destOrd="0" presId="urn:microsoft.com/office/officeart/2005/8/layout/hList1"/>
    <dgm:cxn modelId="{FEA611DE-5FEF-F141-A4F0-BDDD9957A3E2}" type="presOf" srcId="{4AC71D21-1492-3348-B7A6-5C2BCBD902D5}" destId="{0E32FB3D-56EA-B24A-9E94-469C9E603473}" srcOrd="0" destOrd="0" presId="urn:microsoft.com/office/officeart/2005/8/layout/hList1"/>
    <dgm:cxn modelId="{8AB1B6DF-A149-EB42-A297-A938F4969B7A}" type="presOf" srcId="{77CE68CE-4744-1E48-9CD9-6762BE8CF3E5}" destId="{C2EE137D-227C-8B41-9CEF-F090A9F97D68}" srcOrd="0" destOrd="0" presId="urn:microsoft.com/office/officeart/2005/8/layout/hList1"/>
    <dgm:cxn modelId="{0A96F4E2-0820-604D-8661-78D462D50E4B}" type="presOf" srcId="{977BF214-530D-E541-B1C2-2A1FBB2286CD}" destId="{C2EE137D-227C-8B41-9CEF-F090A9F97D68}" srcOrd="0" destOrd="3" presId="urn:microsoft.com/office/officeart/2005/8/layout/hList1"/>
    <dgm:cxn modelId="{E8F1C6E3-BD50-2E47-B102-7401C727B357}" srcId="{601D3C9A-68CD-1945-ADB7-DA2E05599C5A}" destId="{4AC71D21-1492-3348-B7A6-5C2BCBD902D5}" srcOrd="4" destOrd="0" parTransId="{9402E8AD-84FA-DD4F-859F-CDEB1436E7F3}" sibTransId="{EBA507D5-0C59-254B-A7F5-1D1427C5D840}"/>
    <dgm:cxn modelId="{910733E4-7DC3-AB45-BB60-EC5C5A340AA2}" srcId="{80FFFCBF-D80C-E747-9FB3-93483E5A3463}" destId="{4DC0EBFF-FB11-7944-B7B9-BEDD77F14730}" srcOrd="0" destOrd="0" parTransId="{8EE52794-94D3-2848-863C-AE17D67CB247}" sibTransId="{22811381-C412-D048-8843-09483837A57F}"/>
    <dgm:cxn modelId="{D1CA85E7-3137-7F44-8F2A-D0E48A007E49}" type="presOf" srcId="{43F2E7D0-3E74-B845-BE41-42DB0FACEA8B}" destId="{C2EE137D-227C-8B41-9CEF-F090A9F97D68}" srcOrd="0" destOrd="4" presId="urn:microsoft.com/office/officeart/2005/8/layout/hList1"/>
    <dgm:cxn modelId="{D39492EB-3035-754B-8D64-1AE51287BD5E}" srcId="{601D3C9A-68CD-1945-ADB7-DA2E05599C5A}" destId="{80FFFCBF-D80C-E747-9FB3-93483E5A3463}" srcOrd="5" destOrd="0" parTransId="{FA0FC2D7-8BF9-8640-90C1-8FE764979180}" sibTransId="{B631F706-114F-6B4B-B377-0D22CADAC5BE}"/>
    <dgm:cxn modelId="{7A7808F7-036D-E14B-BF51-437DF1337C4F}" srcId="{72BFE7F6-A176-1B47-B070-566F06008D8C}" destId="{43F2E7D0-3E74-B845-BE41-42DB0FACEA8B}" srcOrd="4" destOrd="0" parTransId="{675EC152-EC54-6743-92F6-22A4CD25A76D}" sibTransId="{DCF8342D-5DEC-5B46-9FB0-F38922BDD4C8}"/>
    <dgm:cxn modelId="{26F15B3B-6FA4-DF42-8BEB-8F2844D9AA6B}" type="presParOf" srcId="{A0ED3AAA-DC34-4245-958B-1C17AB663406}" destId="{B0D320FC-2E80-9243-9808-8FFF28CC6DAB}" srcOrd="0" destOrd="0" presId="urn:microsoft.com/office/officeart/2005/8/layout/hList1"/>
    <dgm:cxn modelId="{7D23E1E9-4379-A145-9BAA-ADD3237ABA4E}" type="presParOf" srcId="{B0D320FC-2E80-9243-9808-8FFF28CC6DAB}" destId="{6C8C16B2-2954-C647-80EE-0BB68CE5C548}" srcOrd="0" destOrd="0" presId="urn:microsoft.com/office/officeart/2005/8/layout/hList1"/>
    <dgm:cxn modelId="{742CCAC1-1E6F-BE4E-BFFF-E21039508625}" type="presParOf" srcId="{B0D320FC-2E80-9243-9808-8FFF28CC6DAB}" destId="{C2EE137D-227C-8B41-9CEF-F090A9F97D68}" srcOrd="1" destOrd="0" presId="urn:microsoft.com/office/officeart/2005/8/layout/hList1"/>
    <dgm:cxn modelId="{2CDD8F12-BFEF-5C44-A282-5AB84183E091}" type="presParOf" srcId="{A0ED3AAA-DC34-4245-958B-1C17AB663406}" destId="{A2464513-277E-0947-AAEF-04F6AE2F20A4}" srcOrd="1" destOrd="0" presId="urn:microsoft.com/office/officeart/2005/8/layout/hList1"/>
    <dgm:cxn modelId="{27DB31B9-E2CC-F444-9FEA-5C0A00D6CE2E}" type="presParOf" srcId="{A0ED3AAA-DC34-4245-958B-1C17AB663406}" destId="{69D527AC-4091-1346-A593-21DCC20F4CD2}" srcOrd="2" destOrd="0" presId="urn:microsoft.com/office/officeart/2005/8/layout/hList1"/>
    <dgm:cxn modelId="{D644F67B-A30C-DA44-AE4E-0828F2793C72}" type="presParOf" srcId="{69D527AC-4091-1346-A593-21DCC20F4CD2}" destId="{F559DA8F-9B70-E042-87E3-BAA2CDF72A58}" srcOrd="0" destOrd="0" presId="urn:microsoft.com/office/officeart/2005/8/layout/hList1"/>
    <dgm:cxn modelId="{5C71BC52-BA5A-F447-A1FB-54F97D8A1471}" type="presParOf" srcId="{69D527AC-4091-1346-A593-21DCC20F4CD2}" destId="{F4029437-CD94-9243-A4E6-230F610E13A7}" srcOrd="1" destOrd="0" presId="urn:microsoft.com/office/officeart/2005/8/layout/hList1"/>
    <dgm:cxn modelId="{A38255A0-0F21-9B4E-A4BA-68EBFB8AE28D}" type="presParOf" srcId="{A0ED3AAA-DC34-4245-958B-1C17AB663406}" destId="{11938A7F-2459-F64D-895E-B6AD2A84019D}" srcOrd="3" destOrd="0" presId="urn:microsoft.com/office/officeart/2005/8/layout/hList1"/>
    <dgm:cxn modelId="{0D6E30A7-A566-9B41-9191-83E96569B5FB}" type="presParOf" srcId="{A0ED3AAA-DC34-4245-958B-1C17AB663406}" destId="{2951423E-C911-9B43-ADFF-461A2AFE3377}" srcOrd="4" destOrd="0" presId="urn:microsoft.com/office/officeart/2005/8/layout/hList1"/>
    <dgm:cxn modelId="{8844B4FD-8CC7-CB45-AD43-816E68850364}" type="presParOf" srcId="{2951423E-C911-9B43-ADFF-461A2AFE3377}" destId="{8676B8BF-5D93-364A-B177-E7FD628083CA}" srcOrd="0" destOrd="0" presId="urn:microsoft.com/office/officeart/2005/8/layout/hList1"/>
    <dgm:cxn modelId="{A22EC359-DDC2-6547-9D3A-1D94DC626AC9}" type="presParOf" srcId="{2951423E-C911-9B43-ADFF-461A2AFE3377}" destId="{7186DE0A-A468-F844-8F3D-BC4EBCFEBA62}" srcOrd="1" destOrd="0" presId="urn:microsoft.com/office/officeart/2005/8/layout/hList1"/>
    <dgm:cxn modelId="{41C1E68A-4728-B048-AB05-753CB671C52A}" type="presParOf" srcId="{A0ED3AAA-DC34-4245-958B-1C17AB663406}" destId="{3AC3ACB8-807E-604C-8E3A-3CD69377C72A}" srcOrd="5" destOrd="0" presId="urn:microsoft.com/office/officeart/2005/8/layout/hList1"/>
    <dgm:cxn modelId="{FC26FC8D-D2E7-FB4A-B6FA-9418DECC2EB2}" type="presParOf" srcId="{A0ED3AAA-DC34-4245-958B-1C17AB663406}" destId="{95B24CD4-4F2F-AE4E-BB09-A3D301E9DD1F}" srcOrd="6" destOrd="0" presId="urn:microsoft.com/office/officeart/2005/8/layout/hList1"/>
    <dgm:cxn modelId="{13F8A35A-7E6A-6D49-97F5-744634F510F0}" type="presParOf" srcId="{95B24CD4-4F2F-AE4E-BB09-A3D301E9DD1F}" destId="{0F2E45FF-7FE9-FF49-8DB5-095D84C0F1B7}" srcOrd="0" destOrd="0" presId="urn:microsoft.com/office/officeart/2005/8/layout/hList1"/>
    <dgm:cxn modelId="{98DF372C-0A25-C44B-80F4-801DCA4A3277}" type="presParOf" srcId="{95B24CD4-4F2F-AE4E-BB09-A3D301E9DD1F}" destId="{2564D77F-41EC-7E4A-A245-9110782AA240}" srcOrd="1" destOrd="0" presId="urn:microsoft.com/office/officeart/2005/8/layout/hList1"/>
    <dgm:cxn modelId="{7EC1BE33-09DC-C644-B9DE-3476C2193269}" type="presParOf" srcId="{A0ED3AAA-DC34-4245-958B-1C17AB663406}" destId="{9C501F13-EA3C-4147-AD30-2F4EFBDDBF6D}" srcOrd="7" destOrd="0" presId="urn:microsoft.com/office/officeart/2005/8/layout/hList1"/>
    <dgm:cxn modelId="{4E3CE64F-8BC8-EA4D-81CC-1AEA6FBFFEE1}" type="presParOf" srcId="{A0ED3AAA-DC34-4245-958B-1C17AB663406}" destId="{327C4128-FFE2-EA43-9A30-3D5C39C803F1}" srcOrd="8" destOrd="0" presId="urn:microsoft.com/office/officeart/2005/8/layout/hList1"/>
    <dgm:cxn modelId="{EAD872FA-5FFB-3847-B6EB-F658707A1371}" type="presParOf" srcId="{327C4128-FFE2-EA43-9A30-3D5C39C803F1}" destId="{0E32FB3D-56EA-B24A-9E94-469C9E603473}" srcOrd="0" destOrd="0" presId="urn:microsoft.com/office/officeart/2005/8/layout/hList1"/>
    <dgm:cxn modelId="{BDD25EB3-A986-2146-A8BF-C0D00B80200F}" type="presParOf" srcId="{327C4128-FFE2-EA43-9A30-3D5C39C803F1}" destId="{FDEEE735-727B-4C43-89AB-134B242C80FB}" srcOrd="1" destOrd="0" presId="urn:microsoft.com/office/officeart/2005/8/layout/hList1"/>
    <dgm:cxn modelId="{13CE9D1E-DFCC-0449-B3BF-7114872462E2}" type="presParOf" srcId="{A0ED3AAA-DC34-4245-958B-1C17AB663406}" destId="{8CBF199C-592F-AD4C-BCD1-0F445E6DC00D}" srcOrd="9" destOrd="0" presId="urn:microsoft.com/office/officeart/2005/8/layout/hList1"/>
    <dgm:cxn modelId="{EEDFA957-DC95-2A4E-8B33-3670A0AE773B}" type="presParOf" srcId="{A0ED3AAA-DC34-4245-958B-1C17AB663406}" destId="{24137B87-3789-D844-8C6A-C051303B27EA}" srcOrd="10" destOrd="0" presId="urn:microsoft.com/office/officeart/2005/8/layout/hList1"/>
    <dgm:cxn modelId="{A9BE80EE-DC26-DC4A-80FF-3EC7ACE6B478}" type="presParOf" srcId="{24137B87-3789-D844-8C6A-C051303B27EA}" destId="{95CEB0E8-8927-BF43-8014-0266F220DF5D}" srcOrd="0" destOrd="0" presId="urn:microsoft.com/office/officeart/2005/8/layout/hList1"/>
    <dgm:cxn modelId="{D449B303-3668-B94D-81FD-358B074D11F1}" type="presParOf" srcId="{24137B87-3789-D844-8C6A-C051303B27EA}" destId="{6CF2DC70-6E6F-0441-8D11-4FC560C5011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9DA8F-9B70-E042-87E3-BAA2CDF72A58}">
      <dsp:nvSpPr>
        <dsp:cNvPr id="0" name=""/>
        <dsp:cNvSpPr/>
      </dsp:nvSpPr>
      <dsp:spPr>
        <a:xfrm>
          <a:off x="4482"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tract</a:t>
          </a:r>
        </a:p>
      </dsp:txBody>
      <dsp:txXfrm>
        <a:off x="4482" y="1073971"/>
        <a:ext cx="2695428" cy="806400"/>
      </dsp:txXfrm>
    </dsp:sp>
    <dsp:sp modelId="{F4029437-CD94-9243-A4E6-230F610E13A7}">
      <dsp:nvSpPr>
        <dsp:cNvPr id="0" name=""/>
        <dsp:cNvSpPr/>
      </dsp:nvSpPr>
      <dsp:spPr>
        <a:xfrm>
          <a:off x="4482"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Pass the application name and the workflow name as arguments</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1:1 relationship between contracts and config files </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Name matching required</a:t>
          </a:r>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dsp:txBody>
      <dsp:txXfrm>
        <a:off x="4482" y="1880371"/>
        <a:ext cx="2695428" cy="2464323"/>
      </dsp:txXfrm>
    </dsp:sp>
    <dsp:sp modelId="{8676B8BF-5D93-364A-B177-E7FD628083CA}">
      <dsp:nvSpPr>
        <dsp:cNvPr id="0" name=""/>
        <dsp:cNvSpPr/>
      </dsp:nvSpPr>
      <dsp:spPr>
        <a:xfrm>
          <a:off x="3077271"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State Variables</a:t>
          </a:r>
        </a:p>
      </dsp:txBody>
      <dsp:txXfrm>
        <a:off x="3077271" y="1073971"/>
        <a:ext cx="2695428" cy="806400"/>
      </dsp:txXfrm>
    </dsp:sp>
    <dsp:sp modelId="{7186DE0A-A468-F844-8F3D-BC4EBCFEBA62}">
      <dsp:nvSpPr>
        <dsp:cNvPr id="0" name=""/>
        <dsp:cNvSpPr/>
      </dsp:nvSpPr>
      <dsp:spPr>
        <a:xfrm>
          <a:off x="3077271"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State variables store values of the state for each contract instance</a:t>
          </a:r>
          <a:br>
            <a:rPr lang="en-US" sz="1200" kern="1200" dirty="0"/>
          </a:br>
          <a:endParaRPr lang="en-US" sz="1200" kern="1200" dirty="0"/>
        </a:p>
        <a:p>
          <a:pPr marL="114300" lvl="1" indent="-114300" algn="l" defTabSz="533400">
            <a:lnSpc>
              <a:spcPct val="90000"/>
            </a:lnSpc>
            <a:spcBef>
              <a:spcPct val="0"/>
            </a:spcBef>
            <a:spcAft>
              <a:spcPct val="15000"/>
            </a:spcAft>
            <a:buChar char="•"/>
          </a:pPr>
          <a:r>
            <a:rPr lang="en-US" sz="1200" kern="1200" dirty="0"/>
            <a:t>The state variables in your contract must match the workflow properties defined in the configuration file</a:t>
          </a:r>
        </a:p>
      </dsp:txBody>
      <dsp:txXfrm>
        <a:off x="3077271" y="1880371"/>
        <a:ext cx="2695428" cy="2464323"/>
      </dsp:txXfrm>
    </dsp:sp>
    <dsp:sp modelId="{0F2E45FF-7FE9-FF49-8DB5-095D84C0F1B7}">
      <dsp:nvSpPr>
        <dsp:cNvPr id="0" name=""/>
        <dsp:cNvSpPr/>
      </dsp:nvSpPr>
      <dsp:spPr>
        <a:xfrm>
          <a:off x="6150060"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structor</a:t>
          </a:r>
        </a:p>
      </dsp:txBody>
      <dsp:txXfrm>
        <a:off x="6150060" y="1073971"/>
        <a:ext cx="2695428" cy="806400"/>
      </dsp:txXfrm>
    </dsp:sp>
    <dsp:sp modelId="{2564D77F-41EC-7E4A-A245-9110782AA240}">
      <dsp:nvSpPr>
        <dsp:cNvPr id="0" name=""/>
        <dsp:cNvSpPr/>
      </dsp:nvSpPr>
      <dsp:spPr>
        <a:xfrm>
          <a:off x="6150060"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The constructor defines input parameters for a new smart contract instance of a workflow</a:t>
          </a:r>
        </a:p>
        <a:p>
          <a:pPr marL="114300" lvl="1" indent="-114300" algn="l" defTabSz="533400">
            <a:lnSpc>
              <a:spcPct val="90000"/>
            </a:lnSpc>
            <a:spcBef>
              <a:spcPct val="0"/>
            </a:spcBef>
            <a:spcAft>
              <a:spcPct val="15000"/>
            </a:spcAft>
            <a:buChar char="•"/>
          </a:pPr>
          <a:r>
            <a:rPr lang="en-US" sz="1200" kern="1200" dirty="0"/>
            <a:t>The constructor is declared as a function with the same name as the contract</a:t>
          </a:r>
        </a:p>
        <a:p>
          <a:pPr marL="114300" lvl="1" indent="-114300" algn="l" defTabSz="533400">
            <a:lnSpc>
              <a:spcPct val="90000"/>
            </a:lnSpc>
            <a:spcBef>
              <a:spcPct val="0"/>
            </a:spcBef>
            <a:spcAft>
              <a:spcPct val="15000"/>
            </a:spcAft>
            <a:buChar char="•"/>
          </a:pPr>
          <a:r>
            <a:rPr lang="en-US" sz="1200" kern="1200" dirty="0"/>
            <a:t>Required parameters for the constructor are defined as constructor parameters in the configuration file </a:t>
          </a:r>
        </a:p>
        <a:p>
          <a:pPr marL="114300" lvl="1" indent="-114300" algn="l" defTabSz="533400">
            <a:lnSpc>
              <a:spcPct val="90000"/>
            </a:lnSpc>
            <a:spcBef>
              <a:spcPct val="0"/>
            </a:spcBef>
            <a:spcAft>
              <a:spcPct val="15000"/>
            </a:spcAft>
            <a:buChar char="•"/>
          </a:pPr>
          <a:r>
            <a:rPr lang="en-US" sz="1200" kern="1200" dirty="0"/>
            <a:t>The number, order, and type of parameters must match in both files.</a:t>
          </a:r>
        </a:p>
      </dsp:txBody>
      <dsp:txXfrm>
        <a:off x="6150060" y="1880371"/>
        <a:ext cx="2695428" cy="2464323"/>
      </dsp:txXfrm>
    </dsp:sp>
    <dsp:sp modelId="{0E32FB3D-56EA-B24A-9E94-469C9E603473}">
      <dsp:nvSpPr>
        <dsp:cNvPr id="0" name=""/>
        <dsp:cNvSpPr/>
      </dsp:nvSpPr>
      <dsp:spPr>
        <a:xfrm>
          <a:off x="9222848"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Functions</a:t>
          </a:r>
        </a:p>
      </dsp:txBody>
      <dsp:txXfrm>
        <a:off x="9222848" y="1073971"/>
        <a:ext cx="2695428" cy="806400"/>
      </dsp:txXfrm>
    </dsp:sp>
    <dsp:sp modelId="{FDEEE735-727B-4C43-89AB-134B242C80FB}">
      <dsp:nvSpPr>
        <dsp:cNvPr id="0" name=""/>
        <dsp:cNvSpPr/>
      </dsp:nvSpPr>
      <dsp:spPr>
        <a:xfrm>
          <a:off x="9222848"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b="0" i="0" u="none" kern="1200" dirty="0"/>
            <a:t>Functions are the executable units of business logic within a contract</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Required parameters for the function are defined as function parameters in the configuration file</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The number, order, and type of parameters must match in both files. </a:t>
          </a:r>
          <a:endParaRPr lang="en-US" sz="1200" kern="1200" dirty="0"/>
        </a:p>
      </dsp:txBody>
      <dsp:txXfrm>
        <a:off x="9222848" y="1880371"/>
        <a:ext cx="2695428" cy="24643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8C16B2-2954-C647-80EE-0BB68CE5C548}">
      <dsp:nvSpPr>
        <dsp:cNvPr id="0" name=""/>
        <dsp:cNvSpPr/>
      </dsp:nvSpPr>
      <dsp:spPr>
        <a:xfrm>
          <a:off x="334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Application Roles</a:t>
          </a:r>
        </a:p>
      </dsp:txBody>
      <dsp:txXfrm>
        <a:off x="3347" y="627223"/>
        <a:ext cx="1778517" cy="699343"/>
      </dsp:txXfrm>
    </dsp:sp>
    <dsp:sp modelId="{C2EE137D-227C-8B41-9CEF-F090A9F97D68}">
      <dsp:nvSpPr>
        <dsp:cNvPr id="0" name=""/>
        <dsp:cNvSpPr/>
      </dsp:nvSpPr>
      <dsp:spPr>
        <a:xfrm>
          <a:off x="334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Based on Persona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Linked to security groups in Azure Active Directory</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Initiators start the workflow proces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Participants modify workflow data</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Observers have read-only access</a:t>
          </a:r>
        </a:p>
      </dsp:txBody>
      <dsp:txXfrm>
        <a:off x="3347" y="1326567"/>
        <a:ext cx="1778517" cy="3464876"/>
      </dsp:txXfrm>
    </dsp:sp>
    <dsp:sp modelId="{F559DA8F-9B70-E042-87E3-BAA2CDF72A58}">
      <dsp:nvSpPr>
        <dsp:cNvPr id="0" name=""/>
        <dsp:cNvSpPr/>
      </dsp:nvSpPr>
      <dsp:spPr>
        <a:xfrm>
          <a:off x="203085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Workflow</a:t>
          </a:r>
        </a:p>
      </dsp:txBody>
      <dsp:txXfrm>
        <a:off x="2030857" y="627223"/>
        <a:ext cx="1778517" cy="699343"/>
      </dsp:txXfrm>
    </dsp:sp>
    <dsp:sp modelId="{F4029437-CD94-9243-A4E6-230F610E13A7}">
      <dsp:nvSpPr>
        <dsp:cNvPr id="0" name=""/>
        <dsp:cNvSpPr/>
      </dsp:nvSpPr>
      <dsp:spPr>
        <a:xfrm>
          <a:off x="203085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llection of states and actions that models application business logic as a state machine</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Each workflow consists of one or more smart contracts, which represent the business logic in code files.</a:t>
          </a:r>
        </a:p>
      </dsp:txBody>
      <dsp:txXfrm>
        <a:off x="2030857" y="1326567"/>
        <a:ext cx="1778517" cy="3464876"/>
      </dsp:txXfrm>
    </dsp:sp>
    <dsp:sp modelId="{8676B8BF-5D93-364A-B177-E7FD628083CA}">
      <dsp:nvSpPr>
        <dsp:cNvPr id="0" name=""/>
        <dsp:cNvSpPr/>
      </dsp:nvSpPr>
      <dsp:spPr>
        <a:xfrm>
          <a:off x="405836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onstructor</a:t>
          </a:r>
        </a:p>
      </dsp:txBody>
      <dsp:txXfrm>
        <a:off x="4058366" y="627223"/>
        <a:ext cx="1778517" cy="699343"/>
      </dsp:txXfrm>
    </dsp:sp>
    <dsp:sp modelId="{7186DE0A-A468-F844-8F3D-BC4EBCFEBA62}">
      <dsp:nvSpPr>
        <dsp:cNvPr id="0" name=""/>
        <dsp:cNvSpPr/>
      </dsp:nvSpPr>
      <dsp:spPr>
        <a:xfrm>
          <a:off x="405836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input parameters for an instance of a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Parameters column of the chart on the previous slide</a:t>
          </a:r>
        </a:p>
      </dsp:txBody>
      <dsp:txXfrm>
        <a:off x="4058366" y="1326567"/>
        <a:ext cx="1778517" cy="3464876"/>
      </dsp:txXfrm>
    </dsp:sp>
    <dsp:sp modelId="{0F2E45FF-7FE9-FF49-8DB5-095D84C0F1B7}">
      <dsp:nvSpPr>
        <dsp:cNvPr id="0" name=""/>
        <dsp:cNvSpPr/>
      </dsp:nvSpPr>
      <dsp:spPr>
        <a:xfrm>
          <a:off x="608587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Functions</a:t>
          </a:r>
        </a:p>
      </dsp:txBody>
      <dsp:txXfrm>
        <a:off x="6085876" y="627223"/>
        <a:ext cx="1778517" cy="699343"/>
      </dsp:txXfrm>
    </dsp:sp>
    <dsp:sp modelId="{2564D77F-41EC-7E4A-A245-9110782AA240}">
      <dsp:nvSpPr>
        <dsp:cNvPr id="0" name=""/>
        <dsp:cNvSpPr/>
      </dsp:nvSpPr>
      <dsp:spPr>
        <a:xfrm>
          <a:off x="608587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functions that can be executed on the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The corresponding smart contract must use the same Name for the applicable function</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Available Actions on the previous slide</a:t>
          </a:r>
        </a:p>
      </dsp:txBody>
      <dsp:txXfrm>
        <a:off x="6085876" y="1326567"/>
        <a:ext cx="1778517" cy="3464876"/>
      </dsp:txXfrm>
    </dsp:sp>
    <dsp:sp modelId="{0E32FB3D-56EA-B24A-9E94-469C9E603473}">
      <dsp:nvSpPr>
        <dsp:cNvPr id="0" name=""/>
        <dsp:cNvSpPr/>
      </dsp:nvSpPr>
      <dsp:spPr>
        <a:xfrm>
          <a:off x="811338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tates</a:t>
          </a:r>
        </a:p>
      </dsp:txBody>
      <dsp:txXfrm>
        <a:off x="8113385" y="627223"/>
        <a:ext cx="1778517" cy="699343"/>
      </dsp:txXfrm>
    </dsp:sp>
    <dsp:sp modelId="{FDEEE735-727B-4C43-89AB-134B242C80FB}">
      <dsp:nvSpPr>
        <dsp:cNvPr id="0" name=""/>
        <dsp:cNvSpPr/>
      </dsp:nvSpPr>
      <dsp:spPr>
        <a:xfrm>
          <a:off x="811338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States that define the status within the workflow</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current state and target state columns on the previous slide</a:t>
          </a:r>
        </a:p>
        <a:p>
          <a:pPr marL="171450" lvl="1" indent="-171450" algn="l" defTabSz="844550">
            <a:lnSpc>
              <a:spcPct val="90000"/>
            </a:lnSpc>
            <a:spcBef>
              <a:spcPct val="0"/>
            </a:spcBef>
            <a:spcAft>
              <a:spcPct val="15000"/>
            </a:spcAft>
            <a:buChar char="•"/>
          </a:pPr>
          <a:endParaRPr lang="en-US" sz="1900" kern="1200" dirty="0"/>
        </a:p>
      </dsp:txBody>
      <dsp:txXfrm>
        <a:off x="8113385" y="1326567"/>
        <a:ext cx="1778517" cy="3464876"/>
      </dsp:txXfrm>
    </dsp:sp>
    <dsp:sp modelId="{95CEB0E8-8927-BF43-8014-0266F220DF5D}">
      <dsp:nvSpPr>
        <dsp:cNvPr id="0" name=""/>
        <dsp:cNvSpPr/>
      </dsp:nvSpPr>
      <dsp:spPr>
        <a:xfrm>
          <a:off x="1014089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Transitions</a:t>
          </a:r>
        </a:p>
      </dsp:txBody>
      <dsp:txXfrm>
        <a:off x="10140895" y="627223"/>
        <a:ext cx="1778517" cy="699343"/>
      </dsp:txXfrm>
    </dsp:sp>
    <dsp:sp modelId="{6CF2DC70-6E6F-0441-8D11-4FC560C5011F}">
      <dsp:nvSpPr>
        <dsp:cNvPr id="0" name=""/>
        <dsp:cNvSpPr/>
      </dsp:nvSpPr>
      <dsp:spPr>
        <a:xfrm>
          <a:off x="1014089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Available actions to the next state</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b="0" i="0" u="none" kern="1200" dirty="0"/>
            <a:t>One or more user roles may perform an action at each state, where an action may transition a state to another state in the workflow</a:t>
          </a:r>
          <a:endParaRPr lang="en-US" sz="1400" kern="1200" dirty="0"/>
        </a:p>
      </dsp:txBody>
      <dsp:txXfrm>
        <a:off x="10140895" y="1326567"/>
        <a:ext cx="1778517" cy="34648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9DA8F-9B70-E042-87E3-BAA2CDF72A58}">
      <dsp:nvSpPr>
        <dsp:cNvPr id="0" name=""/>
        <dsp:cNvSpPr/>
      </dsp:nvSpPr>
      <dsp:spPr>
        <a:xfrm>
          <a:off x="4482"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tract</a:t>
          </a:r>
        </a:p>
      </dsp:txBody>
      <dsp:txXfrm>
        <a:off x="4482" y="1073971"/>
        <a:ext cx="2695428" cy="806400"/>
      </dsp:txXfrm>
    </dsp:sp>
    <dsp:sp modelId="{F4029437-CD94-9243-A4E6-230F610E13A7}">
      <dsp:nvSpPr>
        <dsp:cNvPr id="0" name=""/>
        <dsp:cNvSpPr/>
      </dsp:nvSpPr>
      <dsp:spPr>
        <a:xfrm>
          <a:off x="4482"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Pass the application name and the workflow name as arguments</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1:1 relationship between contracts and config files </a:t>
          </a:r>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US" sz="1200" kern="1200" dirty="0"/>
            <a:t>Name matching required</a:t>
          </a:r>
        </a:p>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endParaRPr lang="en-US" sz="1400" kern="1200" dirty="0"/>
        </a:p>
      </dsp:txBody>
      <dsp:txXfrm>
        <a:off x="4482" y="1880371"/>
        <a:ext cx="2695428" cy="2464323"/>
      </dsp:txXfrm>
    </dsp:sp>
    <dsp:sp modelId="{8676B8BF-5D93-364A-B177-E7FD628083CA}">
      <dsp:nvSpPr>
        <dsp:cNvPr id="0" name=""/>
        <dsp:cNvSpPr/>
      </dsp:nvSpPr>
      <dsp:spPr>
        <a:xfrm>
          <a:off x="3077271"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State Variables</a:t>
          </a:r>
        </a:p>
      </dsp:txBody>
      <dsp:txXfrm>
        <a:off x="3077271" y="1073971"/>
        <a:ext cx="2695428" cy="806400"/>
      </dsp:txXfrm>
    </dsp:sp>
    <dsp:sp modelId="{7186DE0A-A468-F844-8F3D-BC4EBCFEBA62}">
      <dsp:nvSpPr>
        <dsp:cNvPr id="0" name=""/>
        <dsp:cNvSpPr/>
      </dsp:nvSpPr>
      <dsp:spPr>
        <a:xfrm>
          <a:off x="3077271"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State variables store values of the state for each contract instance</a:t>
          </a:r>
          <a:br>
            <a:rPr lang="en-US" sz="1200" kern="1200" dirty="0"/>
          </a:br>
          <a:endParaRPr lang="en-US" sz="1200" kern="1200" dirty="0"/>
        </a:p>
        <a:p>
          <a:pPr marL="114300" lvl="1" indent="-114300" algn="l" defTabSz="533400">
            <a:lnSpc>
              <a:spcPct val="90000"/>
            </a:lnSpc>
            <a:spcBef>
              <a:spcPct val="0"/>
            </a:spcBef>
            <a:spcAft>
              <a:spcPct val="15000"/>
            </a:spcAft>
            <a:buChar char="•"/>
          </a:pPr>
          <a:r>
            <a:rPr lang="en-US" sz="1200" kern="1200" dirty="0"/>
            <a:t>The state variables in your contract must match the workflow properties defined in the configuration file</a:t>
          </a:r>
        </a:p>
      </dsp:txBody>
      <dsp:txXfrm>
        <a:off x="3077271" y="1880371"/>
        <a:ext cx="2695428" cy="2464323"/>
      </dsp:txXfrm>
    </dsp:sp>
    <dsp:sp modelId="{0F2E45FF-7FE9-FF49-8DB5-095D84C0F1B7}">
      <dsp:nvSpPr>
        <dsp:cNvPr id="0" name=""/>
        <dsp:cNvSpPr/>
      </dsp:nvSpPr>
      <dsp:spPr>
        <a:xfrm>
          <a:off x="6150060"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Constructor</a:t>
          </a:r>
        </a:p>
      </dsp:txBody>
      <dsp:txXfrm>
        <a:off x="6150060" y="1073971"/>
        <a:ext cx="2695428" cy="806400"/>
      </dsp:txXfrm>
    </dsp:sp>
    <dsp:sp modelId="{2564D77F-41EC-7E4A-A245-9110782AA240}">
      <dsp:nvSpPr>
        <dsp:cNvPr id="0" name=""/>
        <dsp:cNvSpPr/>
      </dsp:nvSpPr>
      <dsp:spPr>
        <a:xfrm>
          <a:off x="6150060"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The constructor defines input parameters for a new smart contract instance of a workflow</a:t>
          </a:r>
        </a:p>
        <a:p>
          <a:pPr marL="114300" lvl="1" indent="-114300" algn="l" defTabSz="533400">
            <a:lnSpc>
              <a:spcPct val="90000"/>
            </a:lnSpc>
            <a:spcBef>
              <a:spcPct val="0"/>
            </a:spcBef>
            <a:spcAft>
              <a:spcPct val="15000"/>
            </a:spcAft>
            <a:buChar char="•"/>
          </a:pPr>
          <a:r>
            <a:rPr lang="en-US" sz="1200" kern="1200" dirty="0"/>
            <a:t>The constructor is declared as a function with the same name as the contract</a:t>
          </a:r>
        </a:p>
        <a:p>
          <a:pPr marL="114300" lvl="1" indent="-114300" algn="l" defTabSz="533400">
            <a:lnSpc>
              <a:spcPct val="90000"/>
            </a:lnSpc>
            <a:spcBef>
              <a:spcPct val="0"/>
            </a:spcBef>
            <a:spcAft>
              <a:spcPct val="15000"/>
            </a:spcAft>
            <a:buChar char="•"/>
          </a:pPr>
          <a:r>
            <a:rPr lang="en-US" sz="1200" kern="1200" dirty="0"/>
            <a:t>Required parameters for the constructor are defined as constructor parameters in the configuration file </a:t>
          </a:r>
        </a:p>
        <a:p>
          <a:pPr marL="114300" lvl="1" indent="-114300" algn="l" defTabSz="533400">
            <a:lnSpc>
              <a:spcPct val="90000"/>
            </a:lnSpc>
            <a:spcBef>
              <a:spcPct val="0"/>
            </a:spcBef>
            <a:spcAft>
              <a:spcPct val="15000"/>
            </a:spcAft>
            <a:buChar char="•"/>
          </a:pPr>
          <a:r>
            <a:rPr lang="en-US" sz="1200" kern="1200" dirty="0"/>
            <a:t>The number, order, and type of parameters must match in both files.</a:t>
          </a:r>
        </a:p>
      </dsp:txBody>
      <dsp:txXfrm>
        <a:off x="6150060" y="1880371"/>
        <a:ext cx="2695428" cy="2464323"/>
      </dsp:txXfrm>
    </dsp:sp>
    <dsp:sp modelId="{0E32FB3D-56EA-B24A-9E94-469C9E603473}">
      <dsp:nvSpPr>
        <dsp:cNvPr id="0" name=""/>
        <dsp:cNvSpPr/>
      </dsp:nvSpPr>
      <dsp:spPr>
        <a:xfrm>
          <a:off x="9222848" y="1073971"/>
          <a:ext cx="2695428" cy="806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kern="1200" dirty="0"/>
            <a:t>Functions</a:t>
          </a:r>
        </a:p>
      </dsp:txBody>
      <dsp:txXfrm>
        <a:off x="9222848" y="1073971"/>
        <a:ext cx="2695428" cy="806400"/>
      </dsp:txXfrm>
    </dsp:sp>
    <dsp:sp modelId="{FDEEE735-727B-4C43-89AB-134B242C80FB}">
      <dsp:nvSpPr>
        <dsp:cNvPr id="0" name=""/>
        <dsp:cNvSpPr/>
      </dsp:nvSpPr>
      <dsp:spPr>
        <a:xfrm>
          <a:off x="9222848" y="1880371"/>
          <a:ext cx="2695428" cy="2464323"/>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b="0" i="0" u="none" kern="1200" dirty="0"/>
            <a:t>Functions are the executable units of business logic within a contract</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Required parameters for the function are defined as function parameters in the configuration file</a:t>
          </a:r>
          <a:br>
            <a:rPr lang="en-US" sz="1200" b="0" i="0" u="none" kern="1200" dirty="0"/>
          </a:br>
          <a:r>
            <a:rPr lang="en-US" sz="1200" b="0" i="0" u="none" kern="1200" dirty="0"/>
            <a:t> </a:t>
          </a:r>
          <a:endParaRPr lang="en-US" sz="1200" kern="1200" dirty="0"/>
        </a:p>
        <a:p>
          <a:pPr marL="114300" lvl="1" indent="-114300" algn="l" defTabSz="533400">
            <a:lnSpc>
              <a:spcPct val="90000"/>
            </a:lnSpc>
            <a:spcBef>
              <a:spcPct val="0"/>
            </a:spcBef>
            <a:spcAft>
              <a:spcPct val="15000"/>
            </a:spcAft>
            <a:buChar char="•"/>
          </a:pPr>
          <a:r>
            <a:rPr lang="en-US" sz="1200" b="0" i="0" u="none" kern="1200" dirty="0"/>
            <a:t>The number, order, and type of parameters must match in both files. </a:t>
          </a:r>
          <a:endParaRPr lang="en-US" sz="1200" kern="1200" dirty="0"/>
        </a:p>
      </dsp:txBody>
      <dsp:txXfrm>
        <a:off x="9222848" y="1880371"/>
        <a:ext cx="2695428" cy="24643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8C16B2-2954-C647-80EE-0BB68CE5C548}">
      <dsp:nvSpPr>
        <dsp:cNvPr id="0" name=""/>
        <dsp:cNvSpPr/>
      </dsp:nvSpPr>
      <dsp:spPr>
        <a:xfrm>
          <a:off x="334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Application Roles</a:t>
          </a:r>
        </a:p>
      </dsp:txBody>
      <dsp:txXfrm>
        <a:off x="3347" y="627223"/>
        <a:ext cx="1778517" cy="699343"/>
      </dsp:txXfrm>
    </dsp:sp>
    <dsp:sp modelId="{C2EE137D-227C-8B41-9CEF-F090A9F97D68}">
      <dsp:nvSpPr>
        <dsp:cNvPr id="0" name=""/>
        <dsp:cNvSpPr/>
      </dsp:nvSpPr>
      <dsp:spPr>
        <a:xfrm>
          <a:off x="334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Based on Persona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Linked to security groups in Azure Active Directory</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Initiators start the workflow process</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Participants modify workflow data</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Observers have read-only access</a:t>
          </a:r>
        </a:p>
      </dsp:txBody>
      <dsp:txXfrm>
        <a:off x="3347" y="1326567"/>
        <a:ext cx="1778517" cy="3464876"/>
      </dsp:txXfrm>
    </dsp:sp>
    <dsp:sp modelId="{F559DA8F-9B70-E042-87E3-BAA2CDF72A58}">
      <dsp:nvSpPr>
        <dsp:cNvPr id="0" name=""/>
        <dsp:cNvSpPr/>
      </dsp:nvSpPr>
      <dsp:spPr>
        <a:xfrm>
          <a:off x="2030857"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Workflow</a:t>
          </a:r>
        </a:p>
      </dsp:txBody>
      <dsp:txXfrm>
        <a:off x="2030857" y="627223"/>
        <a:ext cx="1778517" cy="699343"/>
      </dsp:txXfrm>
    </dsp:sp>
    <dsp:sp modelId="{F4029437-CD94-9243-A4E6-230F610E13A7}">
      <dsp:nvSpPr>
        <dsp:cNvPr id="0" name=""/>
        <dsp:cNvSpPr/>
      </dsp:nvSpPr>
      <dsp:spPr>
        <a:xfrm>
          <a:off x="2030857"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Collection of states and actions that models application business logic as a state machine</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Each workflow consists of one or more smart contracts, which represent the business logic in code files.</a:t>
          </a:r>
        </a:p>
      </dsp:txBody>
      <dsp:txXfrm>
        <a:off x="2030857" y="1326567"/>
        <a:ext cx="1778517" cy="3464876"/>
      </dsp:txXfrm>
    </dsp:sp>
    <dsp:sp modelId="{8676B8BF-5D93-364A-B177-E7FD628083CA}">
      <dsp:nvSpPr>
        <dsp:cNvPr id="0" name=""/>
        <dsp:cNvSpPr/>
      </dsp:nvSpPr>
      <dsp:spPr>
        <a:xfrm>
          <a:off x="405836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onstructor</a:t>
          </a:r>
        </a:p>
      </dsp:txBody>
      <dsp:txXfrm>
        <a:off x="4058366" y="627223"/>
        <a:ext cx="1778517" cy="699343"/>
      </dsp:txXfrm>
    </dsp:sp>
    <dsp:sp modelId="{7186DE0A-A468-F844-8F3D-BC4EBCFEBA62}">
      <dsp:nvSpPr>
        <dsp:cNvPr id="0" name=""/>
        <dsp:cNvSpPr/>
      </dsp:nvSpPr>
      <dsp:spPr>
        <a:xfrm>
          <a:off x="405836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input parameters for an instance of a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Parameters column of the chart on the previous slide</a:t>
          </a:r>
        </a:p>
      </dsp:txBody>
      <dsp:txXfrm>
        <a:off x="4058366" y="1326567"/>
        <a:ext cx="1778517" cy="3464876"/>
      </dsp:txXfrm>
    </dsp:sp>
    <dsp:sp modelId="{0F2E45FF-7FE9-FF49-8DB5-095D84C0F1B7}">
      <dsp:nvSpPr>
        <dsp:cNvPr id="0" name=""/>
        <dsp:cNvSpPr/>
      </dsp:nvSpPr>
      <dsp:spPr>
        <a:xfrm>
          <a:off x="6085876"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Functions</a:t>
          </a:r>
        </a:p>
      </dsp:txBody>
      <dsp:txXfrm>
        <a:off x="6085876" y="627223"/>
        <a:ext cx="1778517" cy="699343"/>
      </dsp:txXfrm>
    </dsp:sp>
    <dsp:sp modelId="{2564D77F-41EC-7E4A-A245-9110782AA240}">
      <dsp:nvSpPr>
        <dsp:cNvPr id="0" name=""/>
        <dsp:cNvSpPr/>
      </dsp:nvSpPr>
      <dsp:spPr>
        <a:xfrm>
          <a:off x="6085876"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efines functions that can be executed on the workflow</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The corresponding smart contract must use the same Name for the applicable function</a:t>
          </a:r>
          <a:br>
            <a:rPr lang="en-US" sz="1400"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Available Actions on the previous slide</a:t>
          </a:r>
        </a:p>
      </dsp:txBody>
      <dsp:txXfrm>
        <a:off x="6085876" y="1326567"/>
        <a:ext cx="1778517" cy="3464876"/>
      </dsp:txXfrm>
    </dsp:sp>
    <dsp:sp modelId="{0E32FB3D-56EA-B24A-9E94-469C9E603473}">
      <dsp:nvSpPr>
        <dsp:cNvPr id="0" name=""/>
        <dsp:cNvSpPr/>
      </dsp:nvSpPr>
      <dsp:spPr>
        <a:xfrm>
          <a:off x="811338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tates</a:t>
          </a:r>
        </a:p>
      </dsp:txBody>
      <dsp:txXfrm>
        <a:off x="8113385" y="627223"/>
        <a:ext cx="1778517" cy="699343"/>
      </dsp:txXfrm>
    </dsp:sp>
    <dsp:sp modelId="{FDEEE735-727B-4C43-89AB-134B242C80FB}">
      <dsp:nvSpPr>
        <dsp:cNvPr id="0" name=""/>
        <dsp:cNvSpPr/>
      </dsp:nvSpPr>
      <dsp:spPr>
        <a:xfrm>
          <a:off x="811338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States that define the status within the workflow</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kern="1200" dirty="0"/>
            <a:t>Maps to the current state and target state columns on the previous slide</a:t>
          </a:r>
        </a:p>
        <a:p>
          <a:pPr marL="171450" lvl="1" indent="-171450" algn="l" defTabSz="844550">
            <a:lnSpc>
              <a:spcPct val="90000"/>
            </a:lnSpc>
            <a:spcBef>
              <a:spcPct val="0"/>
            </a:spcBef>
            <a:spcAft>
              <a:spcPct val="15000"/>
            </a:spcAft>
            <a:buChar char="•"/>
          </a:pPr>
          <a:endParaRPr lang="en-US" sz="1900" kern="1200" dirty="0"/>
        </a:p>
      </dsp:txBody>
      <dsp:txXfrm>
        <a:off x="8113385" y="1326567"/>
        <a:ext cx="1778517" cy="3464876"/>
      </dsp:txXfrm>
    </dsp:sp>
    <dsp:sp modelId="{95CEB0E8-8927-BF43-8014-0266F220DF5D}">
      <dsp:nvSpPr>
        <dsp:cNvPr id="0" name=""/>
        <dsp:cNvSpPr/>
      </dsp:nvSpPr>
      <dsp:spPr>
        <a:xfrm>
          <a:off x="10140895" y="627223"/>
          <a:ext cx="1778517" cy="699343"/>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Transitions</a:t>
          </a:r>
        </a:p>
      </dsp:txBody>
      <dsp:txXfrm>
        <a:off x="10140895" y="627223"/>
        <a:ext cx="1778517" cy="699343"/>
      </dsp:txXfrm>
    </dsp:sp>
    <dsp:sp modelId="{6CF2DC70-6E6F-0441-8D11-4FC560C5011F}">
      <dsp:nvSpPr>
        <dsp:cNvPr id="0" name=""/>
        <dsp:cNvSpPr/>
      </dsp:nvSpPr>
      <dsp:spPr>
        <a:xfrm>
          <a:off x="10140895" y="1326567"/>
          <a:ext cx="1778517" cy="3464876"/>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0" u="none" kern="1200" dirty="0"/>
            <a:t>Available actions to the next state</a:t>
          </a:r>
          <a:br>
            <a:rPr lang="en-US" sz="1400" b="0" i="0" u="none" kern="1200" dirty="0"/>
          </a:br>
          <a:endParaRPr lang="en-US" sz="1400" kern="1200" dirty="0"/>
        </a:p>
        <a:p>
          <a:pPr marL="114300" lvl="1" indent="-114300" algn="l" defTabSz="622300">
            <a:lnSpc>
              <a:spcPct val="90000"/>
            </a:lnSpc>
            <a:spcBef>
              <a:spcPct val="0"/>
            </a:spcBef>
            <a:spcAft>
              <a:spcPct val="15000"/>
            </a:spcAft>
            <a:buChar char="•"/>
          </a:pPr>
          <a:r>
            <a:rPr lang="en-US" sz="1400" b="0" i="0" u="none" kern="1200" dirty="0"/>
            <a:t>One or more user roles may perform an action at each state, where an action may transition a state to another state in the workflow</a:t>
          </a:r>
          <a:endParaRPr lang="en-US" sz="1400" kern="1200" dirty="0"/>
        </a:p>
      </dsp:txBody>
      <dsp:txXfrm>
        <a:off x="10140895" y="1326567"/>
        <a:ext cx="1778517" cy="346487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4FE0CF-691C-4DB0-96E6-7C59B9E0ED20}" type="datetimeFigureOut">
              <a:rPr lang="en-US" smtClean="0"/>
              <a:t>9/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CAB09A-E6D9-43AF-8311-F2C0834F8FD2}" type="slidenum">
              <a:rPr lang="en-US" smtClean="0"/>
              <a:t>‹#›</a:t>
            </a:fld>
            <a:endParaRPr lang="en-US"/>
          </a:p>
        </p:txBody>
      </p:sp>
    </p:spTree>
    <p:extLst>
      <p:ext uri="{BB962C8B-B14F-4D97-AF65-F5344CB8AC3E}">
        <p14:creationId xmlns:p14="http://schemas.microsoft.com/office/powerpoint/2010/main" val="6754410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556530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1873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1321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4924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043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487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3511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3622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064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286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379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6D287-56EF-4222-BD9A-09B9765CE7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173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1EA0F-A667-4B49-8422-0062BC55E2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69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18/2020 2:5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988368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68C56-40A7-4560-9195-29CADEB2EC6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2E62D5B-7303-441F-AF58-C397FFA090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25F913-BF96-4129-AC5A-2C0FDD5E1570}"/>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5" name="Footer Placeholder 4">
            <a:extLst>
              <a:ext uri="{FF2B5EF4-FFF2-40B4-BE49-F238E27FC236}">
                <a16:creationId xmlns:a16="http://schemas.microsoft.com/office/drawing/2014/main" id="{506CFD26-AE2E-424F-87E6-E2BAA16EA9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58D140-FA27-4CC8-913C-F18B0640D07C}"/>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18490485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627FB-68A0-43BA-813C-CA894ABD01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4F84D0-2945-4C2E-A355-23C6C1A6663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C4142F-74AF-42CD-B50C-2E5B3A68241E}"/>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5" name="Footer Placeholder 4">
            <a:extLst>
              <a:ext uri="{FF2B5EF4-FFF2-40B4-BE49-F238E27FC236}">
                <a16:creationId xmlns:a16="http://schemas.microsoft.com/office/drawing/2014/main" id="{3348FAAC-8BBC-4519-8D1A-A4BF90B86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D35307-4747-4E94-8CA3-AA7981746F13}"/>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40244705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3921">
                <a:solidFill>
                  <a:schemeClr val="tx1"/>
                </a:solidFill>
              </a:defRPr>
            </a:lvl1pPr>
          </a:lstStyle>
          <a:p>
            <a:r>
              <a:rPr lang="en-US" dirty="0"/>
              <a:t>Click to edit Master title style</a:t>
            </a:r>
          </a:p>
        </p:txBody>
      </p:sp>
      <p:pic>
        <p:nvPicPr>
          <p:cNvPr id="3" name="Picture 2" descr="A square divided into four sub-squares, colored red, green, yellow and blue (clockwise), with the company name appearing to its right.">
            <a:extLst>
              <a:ext uri="{FF2B5EF4-FFF2-40B4-BE49-F238E27FC236}">
                <a16:creationId xmlns:a16="http://schemas.microsoft.com/office/drawing/2014/main" id="{576F2D13-16FC-453E-9761-5F0DAF2B658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918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6F4BC869-BDC3-4FA7-95DB-ECF24CF16A40}"/>
              </a:ext>
            </a:extLst>
          </p:cNvPr>
          <p:cNvSpPr>
            <a:spLocks noGrp="1"/>
          </p:cNvSpPr>
          <p:nvPr>
            <p:ph type="body" sz="quarter" idx="10" hasCustomPrompt="1"/>
          </p:nvPr>
        </p:nvSpPr>
        <p:spPr>
          <a:xfrm>
            <a:off x="269876" y="1094906"/>
            <a:ext cx="11655425" cy="461665"/>
          </a:xfrm>
        </p:spPr>
        <p:txBody>
          <a:bodyPr/>
          <a:lstStyle>
            <a:lvl1pPr marL="0" indent="0">
              <a:buNone/>
              <a:defRPr sz="2000">
                <a:latin typeface="Segoe UI Semibold" panose="020B0702040204020203" pitchFamily="34" charset="0"/>
                <a:cs typeface="Segoe UI Semibold" panose="020B0702040204020203" pitchFamily="34" charset="0"/>
              </a:defRPr>
            </a:lvl1pPr>
          </a:lstStyle>
          <a:p>
            <a:pPr lvl="0"/>
            <a:r>
              <a:rPr lang="en-US" dirty="0"/>
              <a:t>subtitle</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2FCA977F-8C2E-49E5-A1A0-D7930D97D9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14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solidFill>
                  <a:schemeClr val="tx1"/>
                </a:solidFill>
              </a:defRPr>
            </a:lvl1pPr>
          </a:lstStyle>
          <a:p>
            <a:r>
              <a:rPr lang="en-US" dirty="0"/>
              <a:t>Click to edit Master title style</a:t>
            </a:r>
          </a:p>
        </p:txBody>
      </p:sp>
      <p:grpSp>
        <p:nvGrpSpPr>
          <p:cNvPr id="3" name="Group 2">
            <a:extLst>
              <a:ext uri="{FF2B5EF4-FFF2-40B4-BE49-F238E27FC236}">
                <a16:creationId xmlns:a16="http://schemas.microsoft.com/office/drawing/2014/main" id="{29DB9C31-C2DE-4448-B166-25811365A1BA}"/>
              </a:ext>
            </a:extLst>
          </p:cNvPr>
          <p:cNvGrpSpPr/>
          <p:nvPr/>
        </p:nvGrpSpPr>
        <p:grpSpPr>
          <a:xfrm>
            <a:off x="7494800" y="5579708"/>
            <a:ext cx="5093650" cy="1750570"/>
            <a:chOff x="7494800" y="5579707"/>
            <a:chExt cx="5093650" cy="1750570"/>
          </a:xfrm>
        </p:grpSpPr>
        <p:sp>
          <p:nvSpPr>
            <p:cNvPr id="4" name="Hexagon 3">
              <a:extLst>
                <a:ext uri="{FF2B5EF4-FFF2-40B4-BE49-F238E27FC236}">
                  <a16:creationId xmlns:a16="http://schemas.microsoft.com/office/drawing/2014/main" id="{AFE0C88E-159E-4946-B1B9-FB5A7C832B87}"/>
                </a:ext>
              </a:extLst>
            </p:cNvPr>
            <p:cNvSpPr/>
            <p:nvPr/>
          </p:nvSpPr>
          <p:spPr bwMode="auto">
            <a:xfrm rot="5400000">
              <a:off x="11732117" y="5643139"/>
              <a:ext cx="919765" cy="79290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5" name="Hexagon 4">
              <a:extLst>
                <a:ext uri="{FF2B5EF4-FFF2-40B4-BE49-F238E27FC236}">
                  <a16:creationId xmlns:a16="http://schemas.microsoft.com/office/drawing/2014/main" id="{4FABEB8C-9B7D-43F5-8766-0E32416269E1}"/>
                </a:ext>
              </a:extLst>
            </p:cNvPr>
            <p:cNvSpPr/>
            <p:nvPr/>
          </p:nvSpPr>
          <p:spPr bwMode="auto">
            <a:xfrm rot="5400000">
              <a:off x="11348416"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6" name="Hexagon 5">
              <a:extLst>
                <a:ext uri="{FF2B5EF4-FFF2-40B4-BE49-F238E27FC236}">
                  <a16:creationId xmlns:a16="http://schemas.microsoft.com/office/drawing/2014/main" id="{7D502961-E09D-4BED-89B8-E6837ED1377C}"/>
                </a:ext>
              </a:extLst>
            </p:cNvPr>
            <p:cNvSpPr/>
            <p:nvPr/>
          </p:nvSpPr>
          <p:spPr bwMode="auto">
            <a:xfrm rot="5400000">
              <a:off x="10957434"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7" name="Hexagon 6">
              <a:extLst>
                <a:ext uri="{FF2B5EF4-FFF2-40B4-BE49-F238E27FC236}">
                  <a16:creationId xmlns:a16="http://schemas.microsoft.com/office/drawing/2014/main" id="{477CFD32-51D7-4395-BA69-D3DEA969CE09}"/>
                </a:ext>
              </a:extLst>
            </p:cNvPr>
            <p:cNvSpPr/>
            <p:nvPr/>
          </p:nvSpPr>
          <p:spPr bwMode="auto">
            <a:xfrm rot="5400000">
              <a:off x="10536812" y="5928370"/>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8" name="Hexagon 7">
              <a:extLst>
                <a:ext uri="{FF2B5EF4-FFF2-40B4-BE49-F238E27FC236}">
                  <a16:creationId xmlns:a16="http://schemas.microsoft.com/office/drawing/2014/main" id="{A9793F40-3A56-4089-B382-1978EFA0A8D5}"/>
                </a:ext>
              </a:extLst>
            </p:cNvPr>
            <p:cNvSpPr/>
            <p:nvPr/>
          </p:nvSpPr>
          <p:spPr bwMode="auto">
            <a:xfrm rot="5400000">
              <a:off x="10145830" y="6163577"/>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9" name="Hexagon 8">
              <a:extLst>
                <a:ext uri="{FF2B5EF4-FFF2-40B4-BE49-F238E27FC236}">
                  <a16:creationId xmlns:a16="http://schemas.microsoft.com/office/drawing/2014/main" id="{14C0C2EC-7F00-427D-805B-30B282449075}"/>
                </a:ext>
              </a:extLst>
            </p:cNvPr>
            <p:cNvSpPr/>
            <p:nvPr/>
          </p:nvSpPr>
          <p:spPr bwMode="auto">
            <a:xfrm rot="5400000">
              <a:off x="9479377" y="6237195"/>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0" name="Hexagon 9">
              <a:extLst>
                <a:ext uri="{FF2B5EF4-FFF2-40B4-BE49-F238E27FC236}">
                  <a16:creationId xmlns:a16="http://schemas.microsoft.com/office/drawing/2014/main" id="{F70FDD8D-ED74-447E-BA3D-932BCEBA0D65}"/>
                </a:ext>
              </a:extLst>
            </p:cNvPr>
            <p:cNvSpPr/>
            <p:nvPr/>
          </p:nvSpPr>
          <p:spPr bwMode="auto">
            <a:xfrm rot="5400000">
              <a:off x="9148529" y="633547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1" name="Hexagon 10">
              <a:extLst>
                <a:ext uri="{FF2B5EF4-FFF2-40B4-BE49-F238E27FC236}">
                  <a16:creationId xmlns:a16="http://schemas.microsoft.com/office/drawing/2014/main" id="{1587E359-F461-4BFB-BA9C-DD48DC85F78F}"/>
                </a:ext>
              </a:extLst>
            </p:cNvPr>
            <p:cNvSpPr/>
            <p:nvPr/>
          </p:nvSpPr>
          <p:spPr bwMode="auto">
            <a:xfrm rot="5400000">
              <a:off x="7870795" y="6644487"/>
              <a:ext cx="736589" cy="634991"/>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2" name="Hexagon 11">
              <a:extLst>
                <a:ext uri="{FF2B5EF4-FFF2-40B4-BE49-F238E27FC236}">
                  <a16:creationId xmlns:a16="http://schemas.microsoft.com/office/drawing/2014/main" id="{56C28ACA-C36A-4D68-B5F7-B9F291B31041}"/>
                </a:ext>
              </a:extLst>
            </p:cNvPr>
            <p:cNvSpPr/>
            <p:nvPr/>
          </p:nvSpPr>
          <p:spPr bwMode="auto">
            <a:xfrm rot="5400000">
              <a:off x="7456094" y="6781520"/>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3" name="Hexagon 12">
              <a:extLst>
                <a:ext uri="{FF2B5EF4-FFF2-40B4-BE49-F238E27FC236}">
                  <a16:creationId xmlns:a16="http://schemas.microsoft.com/office/drawing/2014/main" id="{1D23BDB0-34C5-48AA-9CD7-01FB700F3FAA}"/>
                </a:ext>
              </a:extLst>
            </p:cNvPr>
            <p:cNvSpPr/>
            <p:nvPr/>
          </p:nvSpPr>
          <p:spPr bwMode="auto">
            <a:xfrm rot="5400000">
              <a:off x="8387828" y="6529716"/>
              <a:ext cx="438538" cy="378050"/>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4" name="Hexagon 13">
              <a:extLst>
                <a:ext uri="{FF2B5EF4-FFF2-40B4-BE49-F238E27FC236}">
                  <a16:creationId xmlns:a16="http://schemas.microsoft.com/office/drawing/2014/main" id="{C098327F-938B-4B56-A4FA-B3338E8B4457}"/>
                </a:ext>
              </a:extLst>
            </p:cNvPr>
            <p:cNvSpPr/>
            <p:nvPr/>
          </p:nvSpPr>
          <p:spPr bwMode="auto">
            <a:xfrm rot="5400000">
              <a:off x="8697934" y="6474245"/>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5" name="Hexagon 14">
              <a:extLst>
                <a:ext uri="{FF2B5EF4-FFF2-40B4-BE49-F238E27FC236}">
                  <a16:creationId xmlns:a16="http://schemas.microsoft.com/office/drawing/2014/main" id="{99F2FEAA-ABD8-473E-8C2A-ACAB5FA8FDA6}"/>
                </a:ext>
              </a:extLst>
            </p:cNvPr>
            <p:cNvSpPr/>
            <p:nvPr/>
          </p:nvSpPr>
          <p:spPr bwMode="auto">
            <a:xfrm rot="5400000">
              <a:off x="10106668" y="6609723"/>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6" name="Hexagon 15">
              <a:extLst>
                <a:ext uri="{FF2B5EF4-FFF2-40B4-BE49-F238E27FC236}">
                  <a16:creationId xmlns:a16="http://schemas.microsoft.com/office/drawing/2014/main" id="{C521B346-85D0-4A1D-BA6D-E63D250289AD}"/>
                </a:ext>
              </a:extLst>
            </p:cNvPr>
            <p:cNvSpPr/>
            <p:nvPr/>
          </p:nvSpPr>
          <p:spPr bwMode="auto">
            <a:xfrm rot="5400000">
              <a:off x="10909866" y="6605661"/>
              <a:ext cx="186635" cy="160892"/>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7" name="Hexagon 16">
              <a:extLst>
                <a:ext uri="{FF2B5EF4-FFF2-40B4-BE49-F238E27FC236}">
                  <a16:creationId xmlns:a16="http://schemas.microsoft.com/office/drawing/2014/main" id="{A1B586B2-0078-42A1-B236-00FE0221AD86}"/>
                </a:ext>
              </a:extLst>
            </p:cNvPr>
            <p:cNvSpPr/>
            <p:nvPr/>
          </p:nvSpPr>
          <p:spPr bwMode="auto">
            <a:xfrm rot="5400000">
              <a:off x="9193106" y="669609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8" name="Hexagon 17">
              <a:extLst>
                <a:ext uri="{FF2B5EF4-FFF2-40B4-BE49-F238E27FC236}">
                  <a16:creationId xmlns:a16="http://schemas.microsoft.com/office/drawing/2014/main" id="{B7D732CA-D8B5-40FC-AECF-C8C799052095}"/>
                </a:ext>
              </a:extLst>
            </p:cNvPr>
            <p:cNvSpPr/>
            <p:nvPr/>
          </p:nvSpPr>
          <p:spPr bwMode="auto">
            <a:xfrm rot="5400000">
              <a:off x="8853387" y="641548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19" name="Hexagon 18">
              <a:extLst>
                <a:ext uri="{FF2B5EF4-FFF2-40B4-BE49-F238E27FC236}">
                  <a16:creationId xmlns:a16="http://schemas.microsoft.com/office/drawing/2014/main" id="{77EBF3C5-1B80-456A-8B2C-C61AE2D01D06}"/>
                </a:ext>
              </a:extLst>
            </p:cNvPr>
            <p:cNvSpPr/>
            <p:nvPr/>
          </p:nvSpPr>
          <p:spPr bwMode="auto">
            <a:xfrm rot="5400000">
              <a:off x="8628004" y="6602231"/>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0" name="Hexagon 19">
              <a:extLst>
                <a:ext uri="{FF2B5EF4-FFF2-40B4-BE49-F238E27FC236}">
                  <a16:creationId xmlns:a16="http://schemas.microsoft.com/office/drawing/2014/main" id="{E12E662B-722E-491E-B6E9-B2760558301B}"/>
                </a:ext>
              </a:extLst>
            </p:cNvPr>
            <p:cNvSpPr/>
            <p:nvPr/>
          </p:nvSpPr>
          <p:spPr bwMode="auto">
            <a:xfrm rot="5400000">
              <a:off x="10352519"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1" name="Hexagon 20">
              <a:extLst>
                <a:ext uri="{FF2B5EF4-FFF2-40B4-BE49-F238E27FC236}">
                  <a16:creationId xmlns:a16="http://schemas.microsoft.com/office/drawing/2014/main" id="{2C169068-2FA7-4B28-81A1-EBDA517D64D6}"/>
                </a:ext>
              </a:extLst>
            </p:cNvPr>
            <p:cNvSpPr/>
            <p:nvPr/>
          </p:nvSpPr>
          <p:spPr bwMode="auto">
            <a:xfrm rot="5400000">
              <a:off x="10210619" y="6703444"/>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2" name="Hexagon 21">
              <a:extLst>
                <a:ext uri="{FF2B5EF4-FFF2-40B4-BE49-F238E27FC236}">
                  <a16:creationId xmlns:a16="http://schemas.microsoft.com/office/drawing/2014/main" id="{D58C3C0C-6F70-4B80-BF24-20F04A8E1403}"/>
                </a:ext>
              </a:extLst>
            </p:cNvPr>
            <p:cNvSpPr/>
            <p:nvPr/>
          </p:nvSpPr>
          <p:spPr bwMode="auto">
            <a:xfrm rot="5400000">
              <a:off x="9981502" y="6163958"/>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3" name="Hexagon 22">
              <a:extLst>
                <a:ext uri="{FF2B5EF4-FFF2-40B4-BE49-F238E27FC236}">
                  <a16:creationId xmlns:a16="http://schemas.microsoft.com/office/drawing/2014/main" id="{F218C57C-28FF-490A-828F-057C1955CD57}"/>
                </a:ext>
              </a:extLst>
            </p:cNvPr>
            <p:cNvSpPr/>
            <p:nvPr/>
          </p:nvSpPr>
          <p:spPr bwMode="auto">
            <a:xfrm rot="5400000">
              <a:off x="11075359" y="5870132"/>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4" name="Hexagon 23">
              <a:extLst>
                <a:ext uri="{FF2B5EF4-FFF2-40B4-BE49-F238E27FC236}">
                  <a16:creationId xmlns:a16="http://schemas.microsoft.com/office/drawing/2014/main" id="{B4A9C7B7-C814-4BC9-BBB7-910B6E3F1A43}"/>
                </a:ext>
              </a:extLst>
            </p:cNvPr>
            <p:cNvSpPr/>
            <p:nvPr/>
          </p:nvSpPr>
          <p:spPr bwMode="auto">
            <a:xfrm rot="5400000">
              <a:off x="11318432" y="5870133"/>
              <a:ext cx="251378" cy="21670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5" name="Hexagon 24">
              <a:extLst>
                <a:ext uri="{FF2B5EF4-FFF2-40B4-BE49-F238E27FC236}">
                  <a16:creationId xmlns:a16="http://schemas.microsoft.com/office/drawing/2014/main" id="{CE180EE0-F3B3-4F32-8EBD-8ED19AABCA49}"/>
                </a:ext>
              </a:extLst>
            </p:cNvPr>
            <p:cNvSpPr/>
            <p:nvPr/>
          </p:nvSpPr>
          <p:spPr bwMode="auto">
            <a:xfrm rot="5400000">
              <a:off x="11693867" y="5704966"/>
              <a:ext cx="172085" cy="148349"/>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6" name="Hexagon 25">
              <a:extLst>
                <a:ext uri="{FF2B5EF4-FFF2-40B4-BE49-F238E27FC236}">
                  <a16:creationId xmlns:a16="http://schemas.microsoft.com/office/drawing/2014/main" id="{3B8AC29E-2D96-451A-9A2C-15D54781B1BD}"/>
                </a:ext>
              </a:extLst>
            </p:cNvPr>
            <p:cNvSpPr/>
            <p:nvPr/>
          </p:nvSpPr>
          <p:spPr bwMode="auto">
            <a:xfrm rot="5400000">
              <a:off x="11529571" y="5777603"/>
              <a:ext cx="124926" cy="107695"/>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7" name="Hexagon 26">
              <a:extLst>
                <a:ext uri="{FF2B5EF4-FFF2-40B4-BE49-F238E27FC236}">
                  <a16:creationId xmlns:a16="http://schemas.microsoft.com/office/drawing/2014/main" id="{ABC34F33-C95D-4599-B30E-46B9E0B6DBAD}"/>
                </a:ext>
              </a:extLst>
            </p:cNvPr>
            <p:cNvSpPr/>
            <p:nvPr/>
          </p:nvSpPr>
          <p:spPr bwMode="auto">
            <a:xfrm rot="5400000">
              <a:off x="11099777" y="653014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8" name="Hexagon 27">
              <a:extLst>
                <a:ext uri="{FF2B5EF4-FFF2-40B4-BE49-F238E27FC236}">
                  <a16:creationId xmlns:a16="http://schemas.microsoft.com/office/drawing/2014/main" id="{F241720E-FE5F-4329-891B-B6C2D8B716B8}"/>
                </a:ext>
              </a:extLst>
            </p:cNvPr>
            <p:cNvSpPr/>
            <p:nvPr/>
          </p:nvSpPr>
          <p:spPr bwMode="auto">
            <a:xfrm rot="5400000">
              <a:off x="11508326" y="644886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29" name="Hexagon 28">
              <a:extLst>
                <a:ext uri="{FF2B5EF4-FFF2-40B4-BE49-F238E27FC236}">
                  <a16:creationId xmlns:a16="http://schemas.microsoft.com/office/drawing/2014/main" id="{C682D322-293C-49D2-BE53-C33BC4122EC9}"/>
                </a:ext>
              </a:extLst>
            </p:cNvPr>
            <p:cNvSpPr/>
            <p:nvPr/>
          </p:nvSpPr>
          <p:spPr bwMode="auto">
            <a:xfrm rot="5400000">
              <a:off x="11848185" y="6389494"/>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0" name="Hexagon 29">
              <a:extLst>
                <a:ext uri="{FF2B5EF4-FFF2-40B4-BE49-F238E27FC236}">
                  <a16:creationId xmlns:a16="http://schemas.microsoft.com/office/drawing/2014/main" id="{252B569D-B0AB-4AE9-8BEB-FE8827C3D12E}"/>
                </a:ext>
              </a:extLst>
            </p:cNvPr>
            <p:cNvSpPr/>
            <p:nvPr/>
          </p:nvSpPr>
          <p:spPr bwMode="auto">
            <a:xfrm rot="5400000">
              <a:off x="10711419" y="6759509"/>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sp>
          <p:nvSpPr>
            <p:cNvPr id="31" name="Hexagon 30">
              <a:extLst>
                <a:ext uri="{FF2B5EF4-FFF2-40B4-BE49-F238E27FC236}">
                  <a16:creationId xmlns:a16="http://schemas.microsoft.com/office/drawing/2014/main" id="{D41BB82F-EB5E-4EE8-A733-2571E59E3B88}"/>
                </a:ext>
              </a:extLst>
            </p:cNvPr>
            <p:cNvSpPr/>
            <p:nvPr/>
          </p:nvSpPr>
          <p:spPr bwMode="auto">
            <a:xfrm rot="5400000">
              <a:off x="9666481" y="6750822"/>
              <a:ext cx="561236" cy="483824"/>
            </a:xfrm>
            <a:prstGeom prst="hexagon">
              <a:avLst/>
            </a:prstGeom>
            <a:solidFill>
              <a:schemeClr val="accent1">
                <a:alpha val="6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Semilight"/>
                <a:cs typeface="Segoe UI" pitchFamily="34" charset="0"/>
              </a:endParaRPr>
            </a:p>
          </p:txBody>
        </p:sp>
      </p:grpSp>
      <p:pic>
        <p:nvPicPr>
          <p:cNvPr id="32" name="Picture 2" descr="A square divided into four sub-squares, colored red, green, yellow and blue (clockwise), with the company name appearing to its right.">
            <a:extLst>
              <a:ext uri="{FF2B5EF4-FFF2-40B4-BE49-F238E27FC236}">
                <a16:creationId xmlns:a16="http://schemas.microsoft.com/office/drawing/2014/main" id="{B2FD96D4-3A5C-4951-825A-BA2C8AF84C0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31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450703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93271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p:nvSpPr>
        <p:spPr bwMode="white">
          <a:xfrm>
            <a:off x="4362449" y="6567021"/>
            <a:ext cx="3467104"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F52559C6-C3D9-4754-ACA7-0F6117F3F92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279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56825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49729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66DDE8B-6935-4171-BD1F-FCAE2B1ECC9D}"/>
              </a:ext>
            </a:extLst>
          </p:cNvPr>
          <p:cNvGraphicFramePr>
            <a:graphicFrameLocks noGrp="1"/>
          </p:cNvGraphicFramePr>
          <p:nvPr/>
        </p:nvGraphicFramePr>
        <p:xfrm>
          <a:off x="1" y="2"/>
          <a:ext cx="12191991" cy="6857999"/>
        </p:xfrm>
        <a:graphic>
          <a:graphicData uri="http://schemas.openxmlformats.org/drawingml/2006/table">
            <a:tbl>
              <a:tblPr firstRow="1" bandRow="1">
                <a:tableStyleId>{5C22544A-7EE6-4342-B048-85BDC9FD1C3A}</a:tableStyleId>
              </a:tblPr>
              <a:tblGrid>
                <a:gridCol w="580571">
                  <a:extLst>
                    <a:ext uri="{9D8B030D-6E8A-4147-A177-3AD203B41FA5}">
                      <a16:colId xmlns:a16="http://schemas.microsoft.com/office/drawing/2014/main" val="1236144541"/>
                    </a:ext>
                  </a:extLst>
                </a:gridCol>
                <a:gridCol w="580571">
                  <a:extLst>
                    <a:ext uri="{9D8B030D-6E8A-4147-A177-3AD203B41FA5}">
                      <a16:colId xmlns:a16="http://schemas.microsoft.com/office/drawing/2014/main" val="806076883"/>
                    </a:ext>
                  </a:extLst>
                </a:gridCol>
                <a:gridCol w="580571">
                  <a:extLst>
                    <a:ext uri="{9D8B030D-6E8A-4147-A177-3AD203B41FA5}">
                      <a16:colId xmlns:a16="http://schemas.microsoft.com/office/drawing/2014/main" val="2249519985"/>
                    </a:ext>
                  </a:extLst>
                </a:gridCol>
                <a:gridCol w="580571">
                  <a:extLst>
                    <a:ext uri="{9D8B030D-6E8A-4147-A177-3AD203B41FA5}">
                      <a16:colId xmlns:a16="http://schemas.microsoft.com/office/drawing/2014/main" val="512641429"/>
                    </a:ext>
                  </a:extLst>
                </a:gridCol>
                <a:gridCol w="580571">
                  <a:extLst>
                    <a:ext uri="{9D8B030D-6E8A-4147-A177-3AD203B41FA5}">
                      <a16:colId xmlns:a16="http://schemas.microsoft.com/office/drawing/2014/main" val="340142574"/>
                    </a:ext>
                  </a:extLst>
                </a:gridCol>
                <a:gridCol w="580571">
                  <a:extLst>
                    <a:ext uri="{9D8B030D-6E8A-4147-A177-3AD203B41FA5}">
                      <a16:colId xmlns:a16="http://schemas.microsoft.com/office/drawing/2014/main" val="104923024"/>
                    </a:ext>
                  </a:extLst>
                </a:gridCol>
                <a:gridCol w="580571">
                  <a:extLst>
                    <a:ext uri="{9D8B030D-6E8A-4147-A177-3AD203B41FA5}">
                      <a16:colId xmlns:a16="http://schemas.microsoft.com/office/drawing/2014/main" val="3610994332"/>
                    </a:ext>
                  </a:extLst>
                </a:gridCol>
                <a:gridCol w="580571">
                  <a:extLst>
                    <a:ext uri="{9D8B030D-6E8A-4147-A177-3AD203B41FA5}">
                      <a16:colId xmlns:a16="http://schemas.microsoft.com/office/drawing/2014/main" val="4158843949"/>
                    </a:ext>
                  </a:extLst>
                </a:gridCol>
                <a:gridCol w="580571">
                  <a:extLst>
                    <a:ext uri="{9D8B030D-6E8A-4147-A177-3AD203B41FA5}">
                      <a16:colId xmlns:a16="http://schemas.microsoft.com/office/drawing/2014/main" val="3428914845"/>
                    </a:ext>
                  </a:extLst>
                </a:gridCol>
                <a:gridCol w="580571">
                  <a:extLst>
                    <a:ext uri="{9D8B030D-6E8A-4147-A177-3AD203B41FA5}">
                      <a16:colId xmlns:a16="http://schemas.microsoft.com/office/drawing/2014/main" val="1063425128"/>
                    </a:ext>
                  </a:extLst>
                </a:gridCol>
                <a:gridCol w="580571">
                  <a:extLst>
                    <a:ext uri="{9D8B030D-6E8A-4147-A177-3AD203B41FA5}">
                      <a16:colId xmlns:a16="http://schemas.microsoft.com/office/drawing/2014/main" val="4061447445"/>
                    </a:ext>
                  </a:extLst>
                </a:gridCol>
                <a:gridCol w="580571">
                  <a:extLst>
                    <a:ext uri="{9D8B030D-6E8A-4147-A177-3AD203B41FA5}">
                      <a16:colId xmlns:a16="http://schemas.microsoft.com/office/drawing/2014/main" val="510557632"/>
                    </a:ext>
                  </a:extLst>
                </a:gridCol>
                <a:gridCol w="580571">
                  <a:extLst>
                    <a:ext uri="{9D8B030D-6E8A-4147-A177-3AD203B41FA5}">
                      <a16:colId xmlns:a16="http://schemas.microsoft.com/office/drawing/2014/main" val="1609289120"/>
                    </a:ext>
                  </a:extLst>
                </a:gridCol>
                <a:gridCol w="580571">
                  <a:extLst>
                    <a:ext uri="{9D8B030D-6E8A-4147-A177-3AD203B41FA5}">
                      <a16:colId xmlns:a16="http://schemas.microsoft.com/office/drawing/2014/main" val="4113734490"/>
                    </a:ext>
                  </a:extLst>
                </a:gridCol>
                <a:gridCol w="580571">
                  <a:extLst>
                    <a:ext uri="{9D8B030D-6E8A-4147-A177-3AD203B41FA5}">
                      <a16:colId xmlns:a16="http://schemas.microsoft.com/office/drawing/2014/main" val="4056123191"/>
                    </a:ext>
                  </a:extLst>
                </a:gridCol>
                <a:gridCol w="580571">
                  <a:extLst>
                    <a:ext uri="{9D8B030D-6E8A-4147-A177-3AD203B41FA5}">
                      <a16:colId xmlns:a16="http://schemas.microsoft.com/office/drawing/2014/main" val="1392887209"/>
                    </a:ext>
                  </a:extLst>
                </a:gridCol>
                <a:gridCol w="580571">
                  <a:extLst>
                    <a:ext uri="{9D8B030D-6E8A-4147-A177-3AD203B41FA5}">
                      <a16:colId xmlns:a16="http://schemas.microsoft.com/office/drawing/2014/main" val="1077589550"/>
                    </a:ext>
                  </a:extLst>
                </a:gridCol>
                <a:gridCol w="580571">
                  <a:extLst>
                    <a:ext uri="{9D8B030D-6E8A-4147-A177-3AD203B41FA5}">
                      <a16:colId xmlns:a16="http://schemas.microsoft.com/office/drawing/2014/main" val="3436817102"/>
                    </a:ext>
                  </a:extLst>
                </a:gridCol>
                <a:gridCol w="580571">
                  <a:extLst>
                    <a:ext uri="{9D8B030D-6E8A-4147-A177-3AD203B41FA5}">
                      <a16:colId xmlns:a16="http://schemas.microsoft.com/office/drawing/2014/main" val="867768679"/>
                    </a:ext>
                  </a:extLst>
                </a:gridCol>
                <a:gridCol w="580571">
                  <a:extLst>
                    <a:ext uri="{9D8B030D-6E8A-4147-A177-3AD203B41FA5}">
                      <a16:colId xmlns:a16="http://schemas.microsoft.com/office/drawing/2014/main" val="3822864651"/>
                    </a:ext>
                  </a:extLst>
                </a:gridCol>
                <a:gridCol w="580571">
                  <a:extLst>
                    <a:ext uri="{9D8B030D-6E8A-4147-A177-3AD203B41FA5}">
                      <a16:colId xmlns:a16="http://schemas.microsoft.com/office/drawing/2014/main" val="2899844883"/>
                    </a:ext>
                  </a:extLst>
                </a:gridCol>
              </a:tblGrid>
              <a:tr h="488560">
                <a:tc rowSpan="3">
                  <a:txBody>
                    <a:bodyPr/>
                    <a:lstStyle/>
                    <a:p>
                      <a:endParaRPr lang="en-US" sz="1800" dirty="0"/>
                    </a:p>
                  </a:txBody>
                  <a:tcPr>
                    <a:solidFill>
                      <a:schemeClr val="accent2"/>
                    </a:solidFill>
                  </a:tcPr>
                </a:tc>
                <a:tc gridSpan="20">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3800336"/>
                  </a:ext>
                </a:extLst>
              </a:tr>
              <a:tr h="408900">
                <a:tc vMerge="1">
                  <a:txBody>
                    <a:bodyPr/>
                    <a:lstStyle/>
                    <a:p>
                      <a:endParaRPr lang="en-US" dirty="0"/>
                    </a:p>
                  </a:txBody>
                  <a:tcPr/>
                </a:tc>
                <a:tc gridSpan="5">
                  <a:txBody>
                    <a:bodyPr/>
                    <a:lstStyle/>
                    <a:p>
                      <a:r>
                        <a:rPr lang="en-US" sz="900" dirty="0">
                          <a:solidFill>
                            <a:schemeClr val="bg1"/>
                          </a:solidFill>
                        </a:rPr>
                        <a:t>November</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5">
                  <a:txBody>
                    <a:bodyPr/>
                    <a:lstStyle/>
                    <a:p>
                      <a:r>
                        <a:rPr lang="en-US" sz="900" dirty="0">
                          <a:solidFill>
                            <a:schemeClr val="bg1"/>
                          </a:solidFill>
                        </a:rPr>
                        <a:t>Decembe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29</a:t>
                      </a:r>
                    </a:p>
                  </a:txBody>
                  <a:tcPr marL="0" marR="0" marT="0" marB="0" anchor="ctr">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4</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5</a:t>
                      </a:r>
                    </a:p>
                  </a:txBody>
                  <a:tcPr marL="0" marR="0" marT="0" marB="0" anchor="ctr">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1</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2</a:t>
                      </a:r>
                    </a:p>
                  </a:txBody>
                  <a:tcPr marL="0" marR="0" marT="0" marB="0" anchor="ctr">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9</a:t>
                      </a:r>
                    </a:p>
                  </a:txBody>
                  <a:tcPr marL="0" marR="0" marT="0" marB="0" anchor="ctr">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20">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59471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30BA17A-448C-4763-8149-9BFB20F4DC4F}"/>
              </a:ext>
            </a:extLst>
          </p:cNvPr>
          <p:cNvGraphicFramePr>
            <a:graphicFrameLocks noGrp="1"/>
          </p:cNvGraphicFramePr>
          <p:nvPr/>
        </p:nvGraphicFramePr>
        <p:xfrm>
          <a:off x="0" y="2"/>
          <a:ext cx="12191988" cy="6857999"/>
        </p:xfrm>
        <a:graphic>
          <a:graphicData uri="http://schemas.openxmlformats.org/drawingml/2006/table">
            <a:tbl>
              <a:tblPr firstRow="1" bandRow="1">
                <a:tableStyleId>{5C22544A-7EE6-4342-B048-85BDC9FD1C3A}</a:tableStyleId>
              </a:tblPr>
              <a:tblGrid>
                <a:gridCol w="256773">
                  <a:extLst>
                    <a:ext uri="{9D8B030D-6E8A-4147-A177-3AD203B41FA5}">
                      <a16:colId xmlns:a16="http://schemas.microsoft.com/office/drawing/2014/main" val="1236144541"/>
                    </a:ext>
                  </a:extLst>
                </a:gridCol>
                <a:gridCol w="265227">
                  <a:extLst>
                    <a:ext uri="{9D8B030D-6E8A-4147-A177-3AD203B41FA5}">
                      <a16:colId xmlns:a16="http://schemas.microsoft.com/office/drawing/2014/main" val="806076883"/>
                    </a:ext>
                  </a:extLst>
                </a:gridCol>
                <a:gridCol w="265227">
                  <a:extLst>
                    <a:ext uri="{9D8B030D-6E8A-4147-A177-3AD203B41FA5}">
                      <a16:colId xmlns:a16="http://schemas.microsoft.com/office/drawing/2014/main" val="2249519985"/>
                    </a:ext>
                  </a:extLst>
                </a:gridCol>
                <a:gridCol w="265227">
                  <a:extLst>
                    <a:ext uri="{9D8B030D-6E8A-4147-A177-3AD203B41FA5}">
                      <a16:colId xmlns:a16="http://schemas.microsoft.com/office/drawing/2014/main" val="512641429"/>
                    </a:ext>
                  </a:extLst>
                </a:gridCol>
                <a:gridCol w="265227">
                  <a:extLst>
                    <a:ext uri="{9D8B030D-6E8A-4147-A177-3AD203B41FA5}">
                      <a16:colId xmlns:a16="http://schemas.microsoft.com/office/drawing/2014/main" val="340142574"/>
                    </a:ext>
                  </a:extLst>
                </a:gridCol>
                <a:gridCol w="265227">
                  <a:extLst>
                    <a:ext uri="{9D8B030D-6E8A-4147-A177-3AD203B41FA5}">
                      <a16:colId xmlns:a16="http://schemas.microsoft.com/office/drawing/2014/main" val="104923024"/>
                    </a:ext>
                  </a:extLst>
                </a:gridCol>
                <a:gridCol w="265227">
                  <a:extLst>
                    <a:ext uri="{9D8B030D-6E8A-4147-A177-3AD203B41FA5}">
                      <a16:colId xmlns:a16="http://schemas.microsoft.com/office/drawing/2014/main" val="3610994332"/>
                    </a:ext>
                  </a:extLst>
                </a:gridCol>
                <a:gridCol w="265227">
                  <a:extLst>
                    <a:ext uri="{9D8B030D-6E8A-4147-A177-3AD203B41FA5}">
                      <a16:colId xmlns:a16="http://schemas.microsoft.com/office/drawing/2014/main" val="4158843949"/>
                    </a:ext>
                  </a:extLst>
                </a:gridCol>
                <a:gridCol w="265227">
                  <a:extLst>
                    <a:ext uri="{9D8B030D-6E8A-4147-A177-3AD203B41FA5}">
                      <a16:colId xmlns:a16="http://schemas.microsoft.com/office/drawing/2014/main" val="3428914845"/>
                    </a:ext>
                  </a:extLst>
                </a:gridCol>
                <a:gridCol w="265227">
                  <a:extLst>
                    <a:ext uri="{9D8B030D-6E8A-4147-A177-3AD203B41FA5}">
                      <a16:colId xmlns:a16="http://schemas.microsoft.com/office/drawing/2014/main" val="1063425128"/>
                    </a:ext>
                  </a:extLst>
                </a:gridCol>
                <a:gridCol w="265227">
                  <a:extLst>
                    <a:ext uri="{9D8B030D-6E8A-4147-A177-3AD203B41FA5}">
                      <a16:colId xmlns:a16="http://schemas.microsoft.com/office/drawing/2014/main" val="4061447445"/>
                    </a:ext>
                  </a:extLst>
                </a:gridCol>
                <a:gridCol w="265227">
                  <a:extLst>
                    <a:ext uri="{9D8B030D-6E8A-4147-A177-3AD203B41FA5}">
                      <a16:colId xmlns:a16="http://schemas.microsoft.com/office/drawing/2014/main" val="510557632"/>
                    </a:ext>
                  </a:extLst>
                </a:gridCol>
                <a:gridCol w="265227">
                  <a:extLst>
                    <a:ext uri="{9D8B030D-6E8A-4147-A177-3AD203B41FA5}">
                      <a16:colId xmlns:a16="http://schemas.microsoft.com/office/drawing/2014/main" val="1609289120"/>
                    </a:ext>
                  </a:extLst>
                </a:gridCol>
                <a:gridCol w="265227">
                  <a:extLst>
                    <a:ext uri="{9D8B030D-6E8A-4147-A177-3AD203B41FA5}">
                      <a16:colId xmlns:a16="http://schemas.microsoft.com/office/drawing/2014/main" val="4113734490"/>
                    </a:ext>
                  </a:extLst>
                </a:gridCol>
                <a:gridCol w="265227">
                  <a:extLst>
                    <a:ext uri="{9D8B030D-6E8A-4147-A177-3AD203B41FA5}">
                      <a16:colId xmlns:a16="http://schemas.microsoft.com/office/drawing/2014/main" val="4056123191"/>
                    </a:ext>
                  </a:extLst>
                </a:gridCol>
                <a:gridCol w="265227">
                  <a:extLst>
                    <a:ext uri="{9D8B030D-6E8A-4147-A177-3AD203B41FA5}">
                      <a16:colId xmlns:a16="http://schemas.microsoft.com/office/drawing/2014/main" val="1392887209"/>
                    </a:ext>
                  </a:extLst>
                </a:gridCol>
                <a:gridCol w="265227">
                  <a:extLst>
                    <a:ext uri="{9D8B030D-6E8A-4147-A177-3AD203B41FA5}">
                      <a16:colId xmlns:a16="http://schemas.microsoft.com/office/drawing/2014/main" val="1077589550"/>
                    </a:ext>
                  </a:extLst>
                </a:gridCol>
                <a:gridCol w="265227">
                  <a:extLst>
                    <a:ext uri="{9D8B030D-6E8A-4147-A177-3AD203B41FA5}">
                      <a16:colId xmlns:a16="http://schemas.microsoft.com/office/drawing/2014/main" val="3436817102"/>
                    </a:ext>
                  </a:extLst>
                </a:gridCol>
                <a:gridCol w="265227">
                  <a:extLst>
                    <a:ext uri="{9D8B030D-6E8A-4147-A177-3AD203B41FA5}">
                      <a16:colId xmlns:a16="http://schemas.microsoft.com/office/drawing/2014/main" val="867768679"/>
                    </a:ext>
                  </a:extLst>
                </a:gridCol>
                <a:gridCol w="265227">
                  <a:extLst>
                    <a:ext uri="{9D8B030D-6E8A-4147-A177-3AD203B41FA5}">
                      <a16:colId xmlns:a16="http://schemas.microsoft.com/office/drawing/2014/main" val="3822864651"/>
                    </a:ext>
                  </a:extLst>
                </a:gridCol>
                <a:gridCol w="265227">
                  <a:extLst>
                    <a:ext uri="{9D8B030D-6E8A-4147-A177-3AD203B41FA5}">
                      <a16:colId xmlns:a16="http://schemas.microsoft.com/office/drawing/2014/main" val="2899844883"/>
                    </a:ext>
                  </a:extLst>
                </a:gridCol>
                <a:gridCol w="265227">
                  <a:extLst>
                    <a:ext uri="{9D8B030D-6E8A-4147-A177-3AD203B41FA5}">
                      <a16:colId xmlns:a16="http://schemas.microsoft.com/office/drawing/2014/main" val="2542213994"/>
                    </a:ext>
                  </a:extLst>
                </a:gridCol>
                <a:gridCol w="265227">
                  <a:extLst>
                    <a:ext uri="{9D8B030D-6E8A-4147-A177-3AD203B41FA5}">
                      <a16:colId xmlns:a16="http://schemas.microsoft.com/office/drawing/2014/main" val="3782830922"/>
                    </a:ext>
                  </a:extLst>
                </a:gridCol>
                <a:gridCol w="265227">
                  <a:extLst>
                    <a:ext uri="{9D8B030D-6E8A-4147-A177-3AD203B41FA5}">
                      <a16:colId xmlns:a16="http://schemas.microsoft.com/office/drawing/2014/main" val="314078815"/>
                    </a:ext>
                  </a:extLst>
                </a:gridCol>
                <a:gridCol w="265227">
                  <a:extLst>
                    <a:ext uri="{9D8B030D-6E8A-4147-A177-3AD203B41FA5}">
                      <a16:colId xmlns:a16="http://schemas.microsoft.com/office/drawing/2014/main" val="2337385838"/>
                    </a:ext>
                  </a:extLst>
                </a:gridCol>
                <a:gridCol w="265227">
                  <a:extLst>
                    <a:ext uri="{9D8B030D-6E8A-4147-A177-3AD203B41FA5}">
                      <a16:colId xmlns:a16="http://schemas.microsoft.com/office/drawing/2014/main" val="3543071286"/>
                    </a:ext>
                  </a:extLst>
                </a:gridCol>
                <a:gridCol w="265227">
                  <a:extLst>
                    <a:ext uri="{9D8B030D-6E8A-4147-A177-3AD203B41FA5}">
                      <a16:colId xmlns:a16="http://schemas.microsoft.com/office/drawing/2014/main" val="2517695894"/>
                    </a:ext>
                  </a:extLst>
                </a:gridCol>
                <a:gridCol w="265227">
                  <a:extLst>
                    <a:ext uri="{9D8B030D-6E8A-4147-A177-3AD203B41FA5}">
                      <a16:colId xmlns:a16="http://schemas.microsoft.com/office/drawing/2014/main" val="328629989"/>
                    </a:ext>
                  </a:extLst>
                </a:gridCol>
                <a:gridCol w="265227">
                  <a:extLst>
                    <a:ext uri="{9D8B030D-6E8A-4147-A177-3AD203B41FA5}">
                      <a16:colId xmlns:a16="http://schemas.microsoft.com/office/drawing/2014/main" val="3477780055"/>
                    </a:ext>
                  </a:extLst>
                </a:gridCol>
                <a:gridCol w="265227">
                  <a:extLst>
                    <a:ext uri="{9D8B030D-6E8A-4147-A177-3AD203B41FA5}">
                      <a16:colId xmlns:a16="http://schemas.microsoft.com/office/drawing/2014/main" val="2370952889"/>
                    </a:ext>
                  </a:extLst>
                </a:gridCol>
                <a:gridCol w="265227">
                  <a:extLst>
                    <a:ext uri="{9D8B030D-6E8A-4147-A177-3AD203B41FA5}">
                      <a16:colId xmlns:a16="http://schemas.microsoft.com/office/drawing/2014/main" val="2000334196"/>
                    </a:ext>
                  </a:extLst>
                </a:gridCol>
                <a:gridCol w="265227">
                  <a:extLst>
                    <a:ext uri="{9D8B030D-6E8A-4147-A177-3AD203B41FA5}">
                      <a16:colId xmlns:a16="http://schemas.microsoft.com/office/drawing/2014/main" val="3702462793"/>
                    </a:ext>
                  </a:extLst>
                </a:gridCol>
                <a:gridCol w="265227">
                  <a:extLst>
                    <a:ext uri="{9D8B030D-6E8A-4147-A177-3AD203B41FA5}">
                      <a16:colId xmlns:a16="http://schemas.microsoft.com/office/drawing/2014/main" val="2501990896"/>
                    </a:ext>
                  </a:extLst>
                </a:gridCol>
                <a:gridCol w="265227">
                  <a:extLst>
                    <a:ext uri="{9D8B030D-6E8A-4147-A177-3AD203B41FA5}">
                      <a16:colId xmlns:a16="http://schemas.microsoft.com/office/drawing/2014/main" val="3138975045"/>
                    </a:ext>
                  </a:extLst>
                </a:gridCol>
                <a:gridCol w="265227">
                  <a:extLst>
                    <a:ext uri="{9D8B030D-6E8A-4147-A177-3AD203B41FA5}">
                      <a16:colId xmlns:a16="http://schemas.microsoft.com/office/drawing/2014/main" val="210895154"/>
                    </a:ext>
                  </a:extLst>
                </a:gridCol>
                <a:gridCol w="265227">
                  <a:extLst>
                    <a:ext uri="{9D8B030D-6E8A-4147-A177-3AD203B41FA5}">
                      <a16:colId xmlns:a16="http://schemas.microsoft.com/office/drawing/2014/main" val="1594128255"/>
                    </a:ext>
                  </a:extLst>
                </a:gridCol>
                <a:gridCol w="265227">
                  <a:extLst>
                    <a:ext uri="{9D8B030D-6E8A-4147-A177-3AD203B41FA5}">
                      <a16:colId xmlns:a16="http://schemas.microsoft.com/office/drawing/2014/main" val="3844578761"/>
                    </a:ext>
                  </a:extLst>
                </a:gridCol>
                <a:gridCol w="265227">
                  <a:extLst>
                    <a:ext uri="{9D8B030D-6E8A-4147-A177-3AD203B41FA5}">
                      <a16:colId xmlns:a16="http://schemas.microsoft.com/office/drawing/2014/main" val="2503873430"/>
                    </a:ext>
                  </a:extLst>
                </a:gridCol>
                <a:gridCol w="265227">
                  <a:extLst>
                    <a:ext uri="{9D8B030D-6E8A-4147-A177-3AD203B41FA5}">
                      <a16:colId xmlns:a16="http://schemas.microsoft.com/office/drawing/2014/main" val="865111495"/>
                    </a:ext>
                  </a:extLst>
                </a:gridCol>
                <a:gridCol w="265227">
                  <a:extLst>
                    <a:ext uri="{9D8B030D-6E8A-4147-A177-3AD203B41FA5}">
                      <a16:colId xmlns:a16="http://schemas.microsoft.com/office/drawing/2014/main" val="835151177"/>
                    </a:ext>
                  </a:extLst>
                </a:gridCol>
                <a:gridCol w="265227">
                  <a:extLst>
                    <a:ext uri="{9D8B030D-6E8A-4147-A177-3AD203B41FA5}">
                      <a16:colId xmlns:a16="http://schemas.microsoft.com/office/drawing/2014/main" val="4022109570"/>
                    </a:ext>
                  </a:extLst>
                </a:gridCol>
                <a:gridCol w="265227">
                  <a:extLst>
                    <a:ext uri="{9D8B030D-6E8A-4147-A177-3AD203B41FA5}">
                      <a16:colId xmlns:a16="http://schemas.microsoft.com/office/drawing/2014/main" val="1036503426"/>
                    </a:ext>
                  </a:extLst>
                </a:gridCol>
                <a:gridCol w="265227">
                  <a:extLst>
                    <a:ext uri="{9D8B030D-6E8A-4147-A177-3AD203B41FA5}">
                      <a16:colId xmlns:a16="http://schemas.microsoft.com/office/drawing/2014/main" val="2800970426"/>
                    </a:ext>
                  </a:extLst>
                </a:gridCol>
                <a:gridCol w="265227">
                  <a:extLst>
                    <a:ext uri="{9D8B030D-6E8A-4147-A177-3AD203B41FA5}">
                      <a16:colId xmlns:a16="http://schemas.microsoft.com/office/drawing/2014/main" val="951351357"/>
                    </a:ext>
                  </a:extLst>
                </a:gridCol>
                <a:gridCol w="265227">
                  <a:extLst>
                    <a:ext uri="{9D8B030D-6E8A-4147-A177-3AD203B41FA5}">
                      <a16:colId xmlns:a16="http://schemas.microsoft.com/office/drawing/2014/main" val="1468666739"/>
                    </a:ext>
                  </a:extLst>
                </a:gridCol>
                <a:gridCol w="265227">
                  <a:extLst>
                    <a:ext uri="{9D8B030D-6E8A-4147-A177-3AD203B41FA5}">
                      <a16:colId xmlns:a16="http://schemas.microsoft.com/office/drawing/2014/main" val="2539365951"/>
                    </a:ext>
                  </a:extLst>
                </a:gridCol>
              </a:tblGrid>
              <a:tr h="488560">
                <a:tc rowSpan="3">
                  <a:txBody>
                    <a:bodyPr/>
                    <a:lstStyle/>
                    <a:p>
                      <a:endParaRPr lang="en-US" sz="1800" dirty="0"/>
                    </a:p>
                  </a:txBody>
                  <a:tcPr>
                    <a:solidFill>
                      <a:schemeClr val="accent2"/>
                    </a:solidFill>
                  </a:tcPr>
                </a:tc>
                <a:tc gridSpan="45">
                  <a:txBody>
                    <a:bodyPr/>
                    <a:lstStyle/>
                    <a:p>
                      <a:r>
                        <a:rPr lang="en-US" sz="1800" dirty="0"/>
                        <a:t>Blockchain Sales Enablement</a:t>
                      </a: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tc hMerge="1">
                  <a:txBody>
                    <a:bodyPr/>
                    <a:lstStyle/>
                    <a:p>
                      <a:endParaRPr lang="en-US" dirty="0"/>
                    </a:p>
                  </a:txBody>
                  <a:tcPr>
                    <a:solidFill>
                      <a:schemeClr val="accent2"/>
                    </a:solidFill>
                  </a:tcPr>
                </a:tc>
                <a:extLst>
                  <a:ext uri="{0D108BD9-81ED-4DB2-BD59-A6C34878D82A}">
                    <a16:rowId xmlns:a16="http://schemas.microsoft.com/office/drawing/2014/main" val="3803800336"/>
                  </a:ext>
                </a:extLst>
              </a:tr>
              <a:tr h="408900">
                <a:tc vMerge="1">
                  <a:txBody>
                    <a:bodyPr/>
                    <a:lstStyle/>
                    <a:p>
                      <a:endParaRPr lang="en-US" dirty="0"/>
                    </a:p>
                  </a:txBody>
                  <a:tcPr/>
                </a:tc>
                <a:tc gridSpan="23">
                  <a:txBody>
                    <a:bodyPr/>
                    <a:lstStyle/>
                    <a:p>
                      <a:pPr algn="l"/>
                      <a:r>
                        <a:rPr lang="en-US" sz="1800" dirty="0">
                          <a:solidFill>
                            <a:schemeClr val="bg1"/>
                          </a:solidFill>
                        </a:rPr>
                        <a:t>January</a:t>
                      </a:r>
                    </a:p>
                  </a:txBody>
                  <a:tcPr>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dirty="0">
                        <a:solidFill>
                          <a:schemeClr val="bg1"/>
                        </a:solidFill>
                      </a:endParaRPr>
                    </a:p>
                  </a:txBody>
                  <a:tcP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gridSpan="22">
                  <a:txBody>
                    <a:bodyPr/>
                    <a:lstStyle/>
                    <a:p>
                      <a:pPr algn="l"/>
                      <a:r>
                        <a:rPr lang="en-US" sz="1800" dirty="0">
                          <a:solidFill>
                            <a:schemeClr val="bg1"/>
                          </a:solidFill>
                        </a:rPr>
                        <a:t>February/March</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10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endParaRPr lang="en-US" sz="900" dirty="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extLst>
                  <a:ext uri="{0D108BD9-81ED-4DB2-BD59-A6C34878D82A}">
                    <a16:rowId xmlns:a16="http://schemas.microsoft.com/office/drawing/2014/main" val="2566129611"/>
                  </a:ext>
                </a:extLst>
              </a:tr>
              <a:tr h="272911">
                <a:tc vMerge="1">
                  <a:txBody>
                    <a:bodyPr/>
                    <a:lstStyle/>
                    <a:p>
                      <a:endParaRPr lang="en-US" dirty="0"/>
                    </a:p>
                  </a:txBody>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solidFill>
                      <a:schemeClr val="accent3"/>
                    </a:solidFill>
                  </a:tcPr>
                </a:tc>
                <a:tc>
                  <a:txBody>
                    <a:bodyPr/>
                    <a:lstStyle/>
                    <a:p>
                      <a:pPr algn="ctr"/>
                      <a:r>
                        <a:rPr lang="en-US" sz="1000" dirty="0">
                          <a:solidFill>
                            <a:schemeClr val="bg1"/>
                          </a:solidFill>
                        </a:rPr>
                        <a:t>3</a:t>
                      </a:r>
                    </a:p>
                  </a:txBody>
                  <a:tcPr marL="0" marR="0" marT="0" marB="0" anchor="ctr">
                    <a:solidFill>
                      <a:schemeClr val="accent3"/>
                    </a:solidFill>
                  </a:tcPr>
                </a:tc>
                <a:tc>
                  <a:txBody>
                    <a:bodyPr/>
                    <a:lstStyle/>
                    <a:p>
                      <a:pPr algn="ctr"/>
                      <a:r>
                        <a:rPr lang="en-US" sz="1000" dirty="0">
                          <a:solidFill>
                            <a:schemeClr val="bg1"/>
                          </a:solidFill>
                        </a:rPr>
                        <a:t>4</a:t>
                      </a:r>
                    </a:p>
                  </a:txBody>
                  <a:tcPr marL="0" marR="0" marT="0" marB="0" anchor="ctr">
                    <a:solidFill>
                      <a:schemeClr val="accent3"/>
                    </a:solidFill>
                  </a:tcPr>
                </a:tc>
                <a:tc>
                  <a:txBody>
                    <a:bodyPr/>
                    <a:lstStyle/>
                    <a:p>
                      <a:pPr algn="ctr"/>
                      <a:r>
                        <a:rPr lang="en-US" sz="1000" dirty="0">
                          <a:solidFill>
                            <a:schemeClr val="bg1"/>
                          </a:solidFill>
                        </a:rPr>
                        <a:t>5</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8</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9</a:t>
                      </a:r>
                    </a:p>
                  </a:txBody>
                  <a:tcPr marL="0" marR="0" marT="0" marB="0" anchor="ctr">
                    <a:solidFill>
                      <a:schemeClr val="accent3"/>
                    </a:solidFill>
                  </a:tcPr>
                </a:tc>
                <a:tc>
                  <a:txBody>
                    <a:bodyPr/>
                    <a:lstStyle/>
                    <a:p>
                      <a:pPr algn="ctr"/>
                      <a:r>
                        <a:rPr lang="en-US" sz="1000" dirty="0">
                          <a:solidFill>
                            <a:schemeClr val="bg1"/>
                          </a:solidFill>
                        </a:rPr>
                        <a:t>10</a:t>
                      </a:r>
                    </a:p>
                  </a:txBody>
                  <a:tcPr marL="0" marR="0" marT="0" marB="0" anchor="ctr">
                    <a:solidFill>
                      <a:schemeClr val="accent3"/>
                    </a:solidFill>
                  </a:tcPr>
                </a:tc>
                <a:tc>
                  <a:txBody>
                    <a:bodyPr/>
                    <a:lstStyle/>
                    <a:p>
                      <a:pPr algn="ctr"/>
                      <a:r>
                        <a:rPr lang="en-US" sz="1000" dirty="0">
                          <a:solidFill>
                            <a:schemeClr val="bg1"/>
                          </a:solidFill>
                        </a:rPr>
                        <a:t>11</a:t>
                      </a:r>
                    </a:p>
                  </a:txBody>
                  <a:tcPr marL="0" marR="0" marT="0" marB="0" anchor="ctr">
                    <a:solidFill>
                      <a:schemeClr val="accent3"/>
                    </a:solidFill>
                  </a:tcPr>
                </a:tc>
                <a:tc>
                  <a:txBody>
                    <a:bodyPr/>
                    <a:lstStyle/>
                    <a:p>
                      <a:pPr algn="ctr"/>
                      <a:r>
                        <a:rPr lang="en-US" sz="1000" dirty="0">
                          <a:solidFill>
                            <a:schemeClr val="bg1"/>
                          </a:solidFill>
                        </a:rPr>
                        <a:t>1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6</a:t>
                      </a:r>
                    </a:p>
                  </a:txBody>
                  <a:tcPr marL="0" marR="0" marT="0" marB="0" anchor="ctr">
                    <a:solidFill>
                      <a:schemeClr val="accent3"/>
                    </a:solidFill>
                  </a:tcPr>
                </a:tc>
                <a:tc>
                  <a:txBody>
                    <a:bodyPr/>
                    <a:lstStyle/>
                    <a:p>
                      <a:pPr algn="ctr"/>
                      <a:r>
                        <a:rPr lang="en-US" sz="1000" dirty="0">
                          <a:solidFill>
                            <a:schemeClr val="bg1"/>
                          </a:solidFill>
                        </a:rPr>
                        <a:t>17</a:t>
                      </a:r>
                    </a:p>
                  </a:txBody>
                  <a:tcPr marL="0" marR="0" marT="0" marB="0" anchor="ctr">
                    <a:solidFill>
                      <a:schemeClr val="accent3"/>
                    </a:solidFill>
                  </a:tcPr>
                </a:tc>
                <a:tc>
                  <a:txBody>
                    <a:bodyPr/>
                    <a:lstStyle/>
                    <a:p>
                      <a:pPr algn="ctr"/>
                      <a:r>
                        <a:rPr lang="en-US" sz="1000" dirty="0">
                          <a:solidFill>
                            <a:schemeClr val="bg1"/>
                          </a:solidFill>
                        </a:rPr>
                        <a:t>18</a:t>
                      </a:r>
                    </a:p>
                  </a:txBody>
                  <a:tcPr marL="0" marR="0" marT="0" marB="0" anchor="ctr">
                    <a:solidFill>
                      <a:schemeClr val="accent3"/>
                    </a:solidFill>
                  </a:tcPr>
                </a:tc>
                <a:tc>
                  <a:txBody>
                    <a:bodyPr/>
                    <a:lstStyle/>
                    <a:p>
                      <a:pPr algn="ctr"/>
                      <a:r>
                        <a:rPr lang="en-US" sz="1000" dirty="0">
                          <a:solidFill>
                            <a:schemeClr val="bg1"/>
                          </a:solidFill>
                        </a:rPr>
                        <a:t>1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3</a:t>
                      </a:r>
                    </a:p>
                  </a:txBody>
                  <a:tcPr marL="0" marR="0" marT="0" marB="0" anchor="ctr">
                    <a:solidFill>
                      <a:schemeClr val="accent3"/>
                    </a:solidFill>
                  </a:tcPr>
                </a:tc>
                <a:tc>
                  <a:txBody>
                    <a:bodyPr/>
                    <a:lstStyle/>
                    <a:p>
                      <a:pPr algn="ctr"/>
                      <a:r>
                        <a:rPr lang="en-US" sz="1000" dirty="0">
                          <a:solidFill>
                            <a:schemeClr val="bg1"/>
                          </a:solidFill>
                        </a:rPr>
                        <a:t>24</a:t>
                      </a:r>
                    </a:p>
                  </a:txBody>
                  <a:tcPr marL="0" marR="0" marT="0" marB="0" anchor="ctr">
                    <a:solidFill>
                      <a:schemeClr val="accent3"/>
                    </a:solidFill>
                  </a:tcPr>
                </a:tc>
                <a:tc>
                  <a:txBody>
                    <a:bodyPr/>
                    <a:lstStyle/>
                    <a:p>
                      <a:pPr algn="ctr"/>
                      <a:r>
                        <a:rPr lang="en-US" sz="1000" dirty="0">
                          <a:solidFill>
                            <a:schemeClr val="bg1"/>
                          </a:solidFill>
                        </a:rPr>
                        <a:t>25</a:t>
                      </a:r>
                    </a:p>
                  </a:txBody>
                  <a:tcPr marL="0" marR="0" marT="0" marB="0" anchor="ctr">
                    <a:solidFill>
                      <a:schemeClr val="accent3"/>
                    </a:solidFill>
                  </a:tcPr>
                </a:tc>
                <a:tc>
                  <a:txBody>
                    <a:bodyPr/>
                    <a:lstStyle/>
                    <a:p>
                      <a:pPr algn="ctr"/>
                      <a:r>
                        <a:rPr lang="en-US" sz="1000" dirty="0">
                          <a:solidFill>
                            <a:schemeClr val="bg1"/>
                          </a:solidFill>
                        </a:rPr>
                        <a:t>2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30</a:t>
                      </a:r>
                    </a:p>
                  </a:txBody>
                  <a:tcPr marL="0" marR="0" marT="0" marB="0" anchor="ctr">
                    <a:solidFill>
                      <a:schemeClr val="accent3"/>
                    </a:solidFill>
                  </a:tcPr>
                </a:tc>
                <a:tc>
                  <a:txBody>
                    <a:bodyPr/>
                    <a:lstStyle/>
                    <a:p>
                      <a:pPr algn="ctr"/>
                      <a:r>
                        <a:rPr lang="en-US" sz="1000" dirty="0">
                          <a:solidFill>
                            <a:schemeClr val="bg1"/>
                          </a:solidFill>
                        </a:rPr>
                        <a:t>31</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5</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6</a:t>
                      </a:r>
                    </a:p>
                  </a:txBody>
                  <a:tcPr marL="0" marR="0" marT="0" marB="0" anchor="ctr">
                    <a:solidFill>
                      <a:schemeClr val="accent3"/>
                    </a:solidFill>
                  </a:tcPr>
                </a:tc>
                <a:tc>
                  <a:txBody>
                    <a:bodyPr/>
                    <a:lstStyle/>
                    <a:p>
                      <a:pPr algn="ctr"/>
                      <a:r>
                        <a:rPr lang="en-US" sz="1000" dirty="0">
                          <a:solidFill>
                            <a:schemeClr val="bg1"/>
                          </a:solidFill>
                        </a:rPr>
                        <a:t>7</a:t>
                      </a:r>
                    </a:p>
                  </a:txBody>
                  <a:tcPr marL="0" marR="0" marT="0" marB="0" anchor="ctr">
                    <a:solidFill>
                      <a:schemeClr val="accent3"/>
                    </a:solidFill>
                  </a:tcPr>
                </a:tc>
                <a:tc>
                  <a:txBody>
                    <a:bodyPr/>
                    <a:lstStyle/>
                    <a:p>
                      <a:pPr algn="ctr"/>
                      <a:r>
                        <a:rPr lang="en-US" sz="1000" dirty="0">
                          <a:solidFill>
                            <a:schemeClr val="bg1"/>
                          </a:solidFill>
                        </a:rPr>
                        <a:t>8</a:t>
                      </a:r>
                    </a:p>
                  </a:txBody>
                  <a:tcPr marL="0" marR="0" marT="0" marB="0" anchor="ctr">
                    <a:solidFill>
                      <a:schemeClr val="accent3"/>
                    </a:solidFill>
                  </a:tcPr>
                </a:tc>
                <a:tc>
                  <a:txBody>
                    <a:bodyPr/>
                    <a:lstStyle/>
                    <a:p>
                      <a:pPr algn="ctr"/>
                      <a:r>
                        <a:rPr lang="en-US" sz="1000" dirty="0">
                          <a:solidFill>
                            <a:schemeClr val="bg1"/>
                          </a:solidFill>
                        </a:rPr>
                        <a:t>9</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2</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13</a:t>
                      </a:r>
                    </a:p>
                  </a:txBody>
                  <a:tcPr marL="0" marR="0" marT="0" marB="0" anchor="ctr">
                    <a:solidFill>
                      <a:schemeClr val="accent3"/>
                    </a:solidFill>
                  </a:tcPr>
                </a:tc>
                <a:tc>
                  <a:txBody>
                    <a:bodyPr/>
                    <a:lstStyle/>
                    <a:p>
                      <a:pPr algn="ctr"/>
                      <a:r>
                        <a:rPr lang="en-US" sz="1000" dirty="0">
                          <a:solidFill>
                            <a:schemeClr val="bg1"/>
                          </a:solidFill>
                        </a:rPr>
                        <a:t>14</a:t>
                      </a:r>
                    </a:p>
                  </a:txBody>
                  <a:tcPr marL="0" marR="0" marT="0" marB="0" anchor="ctr">
                    <a:solidFill>
                      <a:schemeClr val="accent3"/>
                    </a:solidFill>
                  </a:tcPr>
                </a:tc>
                <a:tc>
                  <a:txBody>
                    <a:bodyPr/>
                    <a:lstStyle/>
                    <a:p>
                      <a:pPr algn="ctr"/>
                      <a:r>
                        <a:rPr lang="en-US" sz="1000" dirty="0">
                          <a:solidFill>
                            <a:schemeClr val="bg1"/>
                          </a:solidFill>
                        </a:rPr>
                        <a:t>15</a:t>
                      </a:r>
                    </a:p>
                  </a:txBody>
                  <a:tcPr marL="0" marR="0" marT="0" marB="0" anchor="ctr">
                    <a:solidFill>
                      <a:schemeClr val="accent3"/>
                    </a:solidFill>
                  </a:tcPr>
                </a:tc>
                <a:tc>
                  <a:txBody>
                    <a:bodyPr/>
                    <a:lstStyle/>
                    <a:p>
                      <a:pPr algn="ctr"/>
                      <a:r>
                        <a:rPr lang="en-US" sz="1000" dirty="0">
                          <a:solidFill>
                            <a:schemeClr val="bg1"/>
                          </a:solidFill>
                        </a:rPr>
                        <a:t>16</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19</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0</a:t>
                      </a:r>
                    </a:p>
                  </a:txBody>
                  <a:tcPr marL="0" marR="0" marT="0" marB="0" anchor="ctr">
                    <a:solidFill>
                      <a:schemeClr val="accent3"/>
                    </a:solidFill>
                  </a:tcPr>
                </a:tc>
                <a:tc>
                  <a:txBody>
                    <a:bodyPr/>
                    <a:lstStyle/>
                    <a:p>
                      <a:pPr algn="ctr"/>
                      <a:r>
                        <a:rPr lang="en-US" sz="1000" dirty="0">
                          <a:solidFill>
                            <a:schemeClr val="bg1"/>
                          </a:solidFill>
                        </a:rPr>
                        <a:t>21</a:t>
                      </a:r>
                    </a:p>
                  </a:txBody>
                  <a:tcPr marL="0" marR="0" marT="0" marB="0" anchor="ctr">
                    <a:solidFill>
                      <a:schemeClr val="accent3"/>
                    </a:solidFill>
                  </a:tcPr>
                </a:tc>
                <a:tc>
                  <a:txBody>
                    <a:bodyPr/>
                    <a:lstStyle/>
                    <a:p>
                      <a:pPr algn="ctr"/>
                      <a:r>
                        <a:rPr lang="en-US" sz="1000" dirty="0">
                          <a:solidFill>
                            <a:schemeClr val="bg1"/>
                          </a:solidFill>
                        </a:rPr>
                        <a:t>22</a:t>
                      </a:r>
                    </a:p>
                  </a:txBody>
                  <a:tcPr marL="0" marR="0" marT="0" marB="0" anchor="ctr">
                    <a:solidFill>
                      <a:schemeClr val="accent3"/>
                    </a:solidFill>
                  </a:tcPr>
                </a:tc>
                <a:tc>
                  <a:txBody>
                    <a:bodyPr/>
                    <a:lstStyle/>
                    <a:p>
                      <a:pPr algn="ctr"/>
                      <a:r>
                        <a:rPr lang="en-US" sz="1000" dirty="0">
                          <a:solidFill>
                            <a:schemeClr val="bg1"/>
                          </a:solidFill>
                        </a:rPr>
                        <a:t>23</a:t>
                      </a:r>
                    </a:p>
                  </a:txBody>
                  <a:tcPr marL="0" marR="0" marT="0" marB="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r>
                        <a:rPr lang="en-US" sz="1000" dirty="0">
                          <a:solidFill>
                            <a:schemeClr val="bg1"/>
                          </a:solidFill>
                        </a:rPr>
                        <a:t>26</a:t>
                      </a:r>
                    </a:p>
                  </a:txBody>
                  <a:tcPr marL="0" marR="0" marT="0" marB="0" anchor="ctr">
                    <a:lnL w="38100" cap="flat" cmpd="sng" algn="ctr">
                      <a:solidFill>
                        <a:schemeClr val="bg1"/>
                      </a:solidFill>
                      <a:prstDash val="solid"/>
                      <a:round/>
                      <a:headEnd type="none" w="med" len="med"/>
                      <a:tailEnd type="none" w="med" len="med"/>
                    </a:lnL>
                    <a:solidFill>
                      <a:schemeClr val="accent3"/>
                    </a:solidFill>
                  </a:tcPr>
                </a:tc>
                <a:tc>
                  <a:txBody>
                    <a:bodyPr/>
                    <a:lstStyle/>
                    <a:p>
                      <a:pPr algn="ctr"/>
                      <a:r>
                        <a:rPr lang="en-US" sz="1000" dirty="0">
                          <a:solidFill>
                            <a:schemeClr val="bg1"/>
                          </a:solidFill>
                        </a:rPr>
                        <a:t>27</a:t>
                      </a:r>
                    </a:p>
                  </a:txBody>
                  <a:tcPr marL="0" marR="0" marT="0" marB="0" anchor="ctr">
                    <a:solidFill>
                      <a:schemeClr val="accent3"/>
                    </a:solidFill>
                  </a:tcPr>
                </a:tc>
                <a:tc>
                  <a:txBody>
                    <a:bodyPr/>
                    <a:lstStyle/>
                    <a:p>
                      <a:pPr algn="ctr"/>
                      <a:r>
                        <a:rPr lang="en-US" sz="1000" dirty="0">
                          <a:solidFill>
                            <a:schemeClr val="bg1"/>
                          </a:solidFill>
                        </a:rPr>
                        <a:t>28</a:t>
                      </a:r>
                    </a:p>
                  </a:txBody>
                  <a:tcPr marL="0" marR="0" marT="0" marB="0" anchor="ctr">
                    <a:solidFill>
                      <a:schemeClr val="accent3"/>
                    </a:solidFill>
                  </a:tcPr>
                </a:tc>
                <a:tc>
                  <a:txBody>
                    <a:bodyPr/>
                    <a:lstStyle/>
                    <a:p>
                      <a:pPr algn="ctr"/>
                      <a:r>
                        <a:rPr lang="en-US" sz="1000" dirty="0">
                          <a:solidFill>
                            <a:schemeClr val="bg1"/>
                          </a:solidFill>
                        </a:rPr>
                        <a:t>1</a:t>
                      </a:r>
                    </a:p>
                  </a:txBody>
                  <a:tcPr marL="0" marR="0" marT="0" marB="0" anchor="ctr">
                    <a:solidFill>
                      <a:schemeClr val="accent3"/>
                    </a:solidFill>
                  </a:tcPr>
                </a:tc>
                <a:tc>
                  <a:txBody>
                    <a:bodyPr/>
                    <a:lstStyle/>
                    <a:p>
                      <a:pPr algn="ctr"/>
                      <a:r>
                        <a:rPr lang="en-US" sz="1000" dirty="0">
                          <a:solidFill>
                            <a:schemeClr val="bg1"/>
                          </a:solidFill>
                        </a:rPr>
                        <a:t>2</a:t>
                      </a:r>
                    </a:p>
                  </a:txBody>
                  <a:tcPr marL="0" marR="0" marT="0" marB="0" anchor="ctr">
                    <a:lnR w="38100" cap="flat" cmpd="sng" algn="ctr">
                      <a:solidFill>
                        <a:schemeClr val="bg1"/>
                      </a:solidFill>
                      <a:prstDash val="solid"/>
                      <a:round/>
                      <a:headEnd type="none" w="med" len="med"/>
                      <a:tailEnd type="none" w="med" len="med"/>
                    </a:lnR>
                    <a:solidFill>
                      <a:schemeClr val="accent3"/>
                    </a:solidFill>
                  </a:tcPr>
                </a:tc>
                <a:extLst>
                  <a:ext uri="{0D108BD9-81ED-4DB2-BD59-A6C34878D82A}">
                    <a16:rowId xmlns:a16="http://schemas.microsoft.com/office/drawing/2014/main" val="1256940629"/>
                  </a:ext>
                </a:extLst>
              </a:tr>
              <a:tr h="4052216">
                <a:tc>
                  <a:txBody>
                    <a:bodyPr/>
                    <a:lstStyle/>
                    <a:p>
                      <a:pPr algn="ctr"/>
                      <a:r>
                        <a:rPr lang="en-US" sz="1800" dirty="0">
                          <a:solidFill>
                            <a:schemeClr val="bg1"/>
                          </a:solidFill>
                        </a:rPr>
                        <a:t>Deliverables</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solidFill>
                      <a:srgbClr val="E7E8EA"/>
                    </a:solidFill>
                  </a:tcP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solidFill>
                      <a:srgbClr val="E7E8EA"/>
                    </a:solidFill>
                  </a:tcPr>
                </a:tc>
                <a:extLst>
                  <a:ext uri="{0D108BD9-81ED-4DB2-BD59-A6C34878D82A}">
                    <a16:rowId xmlns:a16="http://schemas.microsoft.com/office/drawing/2014/main" val="703523522"/>
                  </a:ext>
                </a:extLst>
              </a:tr>
              <a:tr h="767778">
                <a:tc>
                  <a:txBody>
                    <a:bodyPr/>
                    <a:lstStyle/>
                    <a:p>
                      <a:pPr algn="ctr"/>
                      <a:r>
                        <a:rPr lang="en-US" sz="1800" dirty="0">
                          <a:solidFill>
                            <a:schemeClr val="bg1"/>
                          </a:solidFill>
                        </a:rPr>
                        <a:t>PMO</a:t>
                      </a:r>
                    </a:p>
                  </a:txBody>
                  <a:tcPr vert="vert270" anchor="ctr">
                    <a:lnR w="38100" cap="flat" cmpd="sng" algn="ctr">
                      <a:solidFill>
                        <a:schemeClr val="bg1"/>
                      </a:solidFill>
                      <a:prstDash val="solid"/>
                      <a:round/>
                      <a:headEnd type="none" w="med" len="med"/>
                      <a:tailEnd type="none" w="med" len="med"/>
                    </a:lnR>
                    <a:solidFill>
                      <a:schemeClr val="accent3"/>
                    </a:solidFill>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tc>
                  <a:txBody>
                    <a:bodyPr/>
                    <a:lstStyle/>
                    <a:p>
                      <a:pPr algn="ctr"/>
                      <a:endParaRPr lang="en-US" sz="1200" dirty="0"/>
                    </a:p>
                  </a:txBody>
                  <a:tcPr anchor="ctr">
                    <a:lnL w="38100" cap="flat" cmpd="sng" algn="ctr">
                      <a:solidFill>
                        <a:schemeClr val="bg1"/>
                      </a:solidFill>
                      <a:prstDash val="solid"/>
                      <a:round/>
                      <a:headEnd type="none" w="med" len="med"/>
                      <a:tailEnd type="none" w="med" len="med"/>
                    </a:lnL>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92029205"/>
                  </a:ext>
                </a:extLst>
              </a:tr>
              <a:tr h="867634">
                <a:tc>
                  <a:txBody>
                    <a:bodyPr/>
                    <a:lstStyle/>
                    <a:p>
                      <a:pPr algn="ctr"/>
                      <a:r>
                        <a:rPr lang="en-US" sz="900" dirty="0">
                          <a:solidFill>
                            <a:schemeClr val="bg1"/>
                          </a:solidFill>
                        </a:rPr>
                        <a:t>Key:</a:t>
                      </a:r>
                    </a:p>
                  </a:txBody>
                  <a:tcPr anchor="ctr">
                    <a:solidFill>
                      <a:schemeClr val="accent3"/>
                    </a:solidFill>
                  </a:tcPr>
                </a:tc>
                <a:tc gridSpan="45">
                  <a:txBody>
                    <a:bodyPr/>
                    <a:lstStyle/>
                    <a:p>
                      <a:pPr algn="ctr"/>
                      <a:endParaRPr lang="en-US" sz="1200" dirty="0"/>
                    </a:p>
                  </a:txBody>
                  <a:tcPr anchor="ctr">
                    <a:solidFill>
                      <a:srgbClr val="A3A3A3"/>
                    </a:solidFill>
                  </a:tcP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tc hMerge="1">
                  <a:txBody>
                    <a:bodyPr/>
                    <a:lstStyle/>
                    <a:p>
                      <a:pPr algn="ctr"/>
                      <a:endParaRPr lang="en-US" sz="1200" dirty="0"/>
                    </a:p>
                  </a:txBody>
                  <a:tcPr anchor="ctr">
                    <a:solidFill>
                      <a:srgbClr val="A3A3A3"/>
                    </a:solidFill>
                  </a:tcPr>
                </a:tc>
                <a:extLst>
                  <a:ext uri="{0D108BD9-81ED-4DB2-BD59-A6C34878D82A}">
                    <a16:rowId xmlns:a16="http://schemas.microsoft.com/office/drawing/2014/main" val="3541021785"/>
                  </a:ext>
                </a:extLst>
              </a:tr>
            </a:tbl>
          </a:graphicData>
        </a:graphic>
      </p:graphicFrame>
    </p:spTree>
    <p:extLst>
      <p:ext uri="{BB962C8B-B14F-4D97-AF65-F5344CB8AC3E}">
        <p14:creationId xmlns:p14="http://schemas.microsoft.com/office/powerpoint/2010/main" val="36043574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A4ECB-E847-4C4D-B765-C6738CA059D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2B6941-2E48-47E5-B103-79012E44D82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771DD-CC6A-4028-959B-FE5BE74EFF26}"/>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5" name="Footer Placeholder 4">
            <a:extLst>
              <a:ext uri="{FF2B5EF4-FFF2-40B4-BE49-F238E27FC236}">
                <a16:creationId xmlns:a16="http://schemas.microsoft.com/office/drawing/2014/main" id="{1120BD4A-A2C9-4572-BF23-3B8CE39F67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B70B05-E74E-4ACB-92DF-FFBAB92D7711}"/>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1155316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799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4" name="Text Box 3">
            <a:extLst>
              <a:ext uri="{FF2B5EF4-FFF2-40B4-BE49-F238E27FC236}">
                <a16:creationId xmlns:a16="http://schemas.microsoft.com/office/drawing/2014/main" id="{E4A89E69-48F9-430F-A4AA-C35FE68B8CD6}"/>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D6605620-554C-447C-9454-F1E897F8C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073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6"/>
            <a:ext cx="11653523" cy="1158793"/>
          </a:xfrm>
          <a:noFill/>
        </p:spPr>
        <p:txBody>
          <a:bodyPr tIns="91440" bIns="91440" anchor="t" anchorCtr="0">
            <a:spAutoFit/>
          </a:bodyPr>
          <a:lstStyle>
            <a:lvl1pPr>
              <a:defRPr sz="7051"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7240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258141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7464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BEEBAAA-29B5-4AF5-BC5F-7E580C29002D}" type="datetimeFigureOut">
              <a:rPr lang="en-US" smtClean="0"/>
              <a:t>9/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860EDB8-5305-433F-BE41-D7A86D811DB3}" type="slidenum">
              <a:rPr lang="en-US" smtClean="0"/>
              <a:t>‹#›</a:t>
            </a:fld>
            <a:endParaRPr lang="en-US"/>
          </a:p>
        </p:txBody>
      </p:sp>
      <p:sp>
        <p:nvSpPr>
          <p:cNvPr id="9" name="Rectangle 8"/>
          <p:cNvSpPr/>
          <p:nvPr userDrawn="1"/>
        </p:nvSpPr>
        <p:spPr>
          <a:xfrm>
            <a:off x="254951" y="262784"/>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userDrawn="1"/>
        </p:nvSpPr>
        <p:spPr>
          <a:xfrm>
            <a:off x="254950" y="262784"/>
            <a:ext cx="11682101" cy="3550091"/>
          </a:xfrm>
          <a:prstGeom prst="rect">
            <a:avLst/>
          </a:prstGeom>
          <a:solidFill>
            <a:srgbClr val="D247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 Placeholder 2"/>
          <p:cNvSpPr>
            <a:spLocks noGrp="1"/>
          </p:cNvSpPr>
          <p:nvPr>
            <p:ph type="body" idx="1" hasCustomPrompt="1"/>
          </p:nvPr>
        </p:nvSpPr>
        <p:spPr>
          <a:xfrm>
            <a:off x="516710" y="1539506"/>
            <a:ext cx="10292187" cy="2169852"/>
          </a:xfrm>
        </p:spPr>
        <p:txBody>
          <a:bodyPr anchor="b">
            <a:normAutofit/>
          </a:bodyPr>
          <a:lstStyle>
            <a:lvl1pPr marL="0" indent="0">
              <a:buNone/>
              <a:defRPr sz="3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2FA3234E-78D8-491A-9913-16D231F5A824}"/>
              </a:ext>
            </a:extLst>
          </p:cNvPr>
          <p:cNvSpPr>
            <a:spLocks noGrp="1"/>
          </p:cNvSpPr>
          <p:nvPr>
            <p:ph sz="quarter" idx="13"/>
          </p:nvPr>
        </p:nvSpPr>
        <p:spPr>
          <a:xfrm>
            <a:off x="516710" y="3973513"/>
            <a:ext cx="10292187" cy="2468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7584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9897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
        <p:nvSpPr>
          <p:cNvPr id="2" name="Rectangle 1"/>
          <p:cNvSpPr/>
          <p:nvPr userDrawn="1"/>
        </p:nvSpPr>
        <p:spPr bwMode="auto">
          <a:xfrm>
            <a:off x="269239" y="3204861"/>
            <a:ext cx="6274974" cy="2465518"/>
          </a:xfrm>
          <a:prstGeom prst="rect">
            <a:avLst/>
          </a:prstGeom>
          <a:solidFill>
            <a:srgbClr val="00188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53053" y="3204862"/>
            <a:ext cx="6276531" cy="1190950"/>
          </a:xfrm>
          <a:noFill/>
        </p:spPr>
        <p:txBody>
          <a:bodyPr lIns="146304" tIns="91440" rIns="146304" bIns="91440" anchor="t" anchorCtr="0"/>
          <a:lstStyle>
            <a:lvl1pPr>
              <a:defRPr sz="5292" spc="-98" baseline="0">
                <a:gradFill>
                  <a:gsLst>
                    <a:gs pos="72727">
                      <a:srgbClr val="FFFFFF"/>
                    </a:gs>
                    <a:gs pos="36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4395811"/>
            <a:ext cx="6276531" cy="1271450"/>
          </a:xfrm>
        </p:spPr>
        <p:txBody>
          <a:bodyPr tIns="109728" bIns="109728">
            <a:noAutofit/>
          </a:bodyPr>
          <a:lstStyle>
            <a:lvl1pPr marL="0" indent="0">
              <a:spcBef>
                <a:spcPts val="0"/>
              </a:spcBef>
              <a:buNone/>
              <a:defRPr sz="3135">
                <a:gradFill>
                  <a:gsLst>
                    <a:gs pos="72727">
                      <a:srgbClr val="FFFFFF"/>
                    </a:gs>
                    <a:gs pos="36000">
                      <a:srgbClr val="FFFFFF"/>
                    </a:gs>
                  </a:gsLst>
                  <a:lin ang="5400000" scaled="0"/>
                </a:gradFill>
              </a:defRPr>
            </a:lvl1pPr>
          </a:lstStyle>
          <a:p>
            <a:pPr lvl="0"/>
            <a:r>
              <a:rPr lang="en-US"/>
              <a:t>Speaker Nam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9950570" y="470413"/>
            <a:ext cx="1792845" cy="38410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8585" y="476320"/>
            <a:ext cx="1792850" cy="38410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9" indent="0">
              <a:buNone/>
              <a:defRPr/>
            </a:lvl3pPr>
            <a:lvl4pPr marL="448015" indent="0">
              <a:buNone/>
              <a:defRPr/>
            </a:lvl4pPr>
            <a:lvl5pPr marL="67202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9"/>
            <a:ext cx="11653523" cy="1985641"/>
          </a:xfrm>
        </p:spPr>
        <p:txBody>
          <a:bodyPr>
            <a:spAutoFit/>
          </a:bodyPr>
          <a:lstStyle>
            <a:lvl1pPr>
              <a:defRPr sz="352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C1604-05F3-4C4A-8208-6C73E45D53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2AF555-6181-4A61-A74B-4D90BF0B6ED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B4D0EC-C061-4A60-858E-4AC37FEEF4E1}"/>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5" name="Footer Placeholder 4">
            <a:extLst>
              <a:ext uri="{FF2B5EF4-FFF2-40B4-BE49-F238E27FC236}">
                <a16:creationId xmlns:a16="http://schemas.microsoft.com/office/drawing/2014/main" id="{7F93DC6F-DE74-4EA8-8E92-F390DDA43C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C2CD6F-07F1-4F29-B907-66755A03DC1B}"/>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9350888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no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no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no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noAutofit/>
          </a:bodyPr>
          <a:lstStyle>
            <a:lvl1pPr marL="0" indent="0">
              <a:spcBef>
                <a:spcPts val="1200"/>
              </a:spcBef>
              <a:buClr>
                <a:schemeClr val="tx1"/>
              </a:buClr>
              <a:buFont typeface="Wingdings" pitchFamily="2" charset="2"/>
              <a:buNone/>
              <a:defRPr sz="3527"/>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no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no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7">
                <a:gradFill>
                  <a:gsLst>
                    <a:gs pos="1250">
                      <a:schemeClr val="tx2"/>
                    </a:gs>
                    <a:gs pos="99000">
                      <a:schemeClr val="tx2"/>
                    </a:gs>
                  </a:gsLst>
                  <a:lin ang="5400000" scaled="0"/>
                </a:gradFill>
              </a:defRPr>
            </a:lvl1pPr>
            <a:lvl2pPr marL="0" indent="0">
              <a:buNone/>
              <a:defRPr sz="1960"/>
            </a:lvl2pPr>
            <a:lvl3pPr marL="227119" indent="0">
              <a:buNone/>
              <a:tabLst/>
              <a:defRPr sz="1960"/>
            </a:lvl3pPr>
            <a:lvl4pPr marL="451127" indent="0">
              <a:buNone/>
              <a:defRPr/>
            </a:lvl4pPr>
            <a:lvl5pPr marL="672024"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65" indent="-281565">
              <a:spcBef>
                <a:spcPts val="1200"/>
              </a:spcBef>
              <a:buClr>
                <a:schemeClr val="tx1"/>
              </a:buClr>
              <a:buFont typeface="Arial" pitchFamily="34" charset="0"/>
              <a:buChar char="•"/>
              <a:defRPr sz="3135"/>
            </a:lvl1pPr>
            <a:lvl2pPr marL="520496" indent="-228510">
              <a:defRPr sz="2352"/>
            </a:lvl2pPr>
            <a:lvl3pPr marL="685531" indent="-165036">
              <a:tabLst/>
              <a:defRPr sz="1960"/>
            </a:lvl3pPr>
            <a:lvl4pPr marL="863261" indent="-177730">
              <a:defRPr/>
            </a:lvl4pPr>
            <a:lvl5pPr marL="1028296" indent="-1650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5"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9"/>
            <a:ext cx="9860674" cy="1793881"/>
          </a:xfrm>
          <a:noFill/>
        </p:spPr>
        <p:txBody>
          <a:bodyPr lIns="182880" tIns="146304" rIns="182880" bIns="146304">
            <a:no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5"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5FD1C-3A98-4C6F-B3D2-EB7AD372C6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663D818-568B-4424-8A1A-4BF0FDC16C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89D5DDF-7248-4E72-A1B1-C76E3D873E51}"/>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5" name="Footer Placeholder 4">
            <a:extLst>
              <a:ext uri="{FF2B5EF4-FFF2-40B4-BE49-F238E27FC236}">
                <a16:creationId xmlns:a16="http://schemas.microsoft.com/office/drawing/2014/main" id="{4F733D7D-CC6D-452B-871F-092838DEB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C9AB6E-1D38-491B-B04F-9CB206D7EC3C}"/>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3813774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4"/>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1"/>
                </a:solidFill>
              </a:defRPr>
            </a:lvl1pPr>
          </a:lstStyle>
          <a:p>
            <a:fld id="{A34B8C21-472C-43AD-8B9F-5964D09AB204}" type="slidenum">
              <a:rPr lang="en-IN" smtClean="0">
                <a:solidFill>
                  <a:srgbClr val="FFFFFF"/>
                </a:solidFill>
              </a:rPr>
              <a:pPr/>
              <a:t>‹#›</a:t>
            </a:fld>
            <a:endParaRPr lang="en-IN">
              <a:solidFill>
                <a:srgbClr val="FFFFFF"/>
              </a:solidFill>
            </a:endParaRP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algn="ctr" defTabSz="913740"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170061"/>
            <a:ext cx="11623331"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defTabSz="913562" eaLnBrk="0" hangingPunct="0"/>
            <a:r>
              <a:rPr lang="en-US" sz="686">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9"/>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19" indent="-275344">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6"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5" indent="-224009">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9">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A50DC-93C9-4DA4-B09E-DFA8B27F03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CD8BF9-C4C5-4F91-893A-2AAD0E4EEEC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F165ED-CA9A-4C10-8986-449A2967594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81AD15-CA34-416B-93B3-D59506C1A7AF}"/>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6" name="Footer Placeholder 5">
            <a:extLst>
              <a:ext uri="{FF2B5EF4-FFF2-40B4-BE49-F238E27FC236}">
                <a16:creationId xmlns:a16="http://schemas.microsoft.com/office/drawing/2014/main" id="{7714FC33-DB6F-4D1B-8E7A-D1E8079972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8821693-4848-4EEF-99D7-FA8E523FE7D5}"/>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13595713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solidFill>
                  <a:prstClr val="black">
                    <a:tint val="75000"/>
                  </a:prstClr>
                </a:solidFill>
              </a:rPr>
              <a:t>11/30/2016</a:t>
            </a:r>
          </a:p>
        </p:txBody>
      </p:sp>
      <p:sp>
        <p:nvSpPr>
          <p:cNvPr id="8" name="Footer Placeholder 7"/>
          <p:cNvSpPr>
            <a:spLocks noGrp="1"/>
          </p:cNvSpPr>
          <p:nvPr>
            <p:ph type="ftr" sz="quarter" idx="11"/>
          </p:nvPr>
        </p:nvSpPr>
        <p:spPr/>
        <p:txBody>
          <a:bodyPr/>
          <a:lstStyle/>
          <a:p>
            <a:r>
              <a:rPr lang="en-US">
                <a:solidFill>
                  <a:prstClr val="black">
                    <a:tint val="75000"/>
                  </a:prstClr>
                </a:solidFill>
              </a:rPr>
              <a:t>Microsoft Confidential</a:t>
            </a:r>
          </a:p>
        </p:txBody>
      </p:sp>
      <p:sp>
        <p:nvSpPr>
          <p:cNvPr id="9" name="Slide Number Placeholder 8"/>
          <p:cNvSpPr>
            <a:spLocks noGrp="1"/>
          </p:cNvSpPr>
          <p:nvPr>
            <p:ph type="sldNum" sz="quarter" idx="12"/>
          </p:nvPr>
        </p:nvSpPr>
        <p:spPr/>
        <p:txBody>
          <a:bodyPr/>
          <a:lstStyle/>
          <a:p>
            <a:fld id="{D1C19AA7-0893-E94A-8772-131383EE1E4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211668" cy="158750"/>
        </p:xfrm>
        <a:graphic>
          <a:graphicData uri="http://schemas.openxmlformats.org/presentationml/2006/ole">
            <mc:AlternateContent xmlns:mc="http://schemas.openxmlformats.org/markup-compatibility/2006">
              <mc:Choice xmlns:v="urn:schemas-microsoft-com:vml" Requires="v">
                <p:oleObj spid="_x0000_s1356"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8"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Subtitle 2"/>
          <p:cNvSpPr>
            <a:spLocks noGrp="1"/>
          </p:cNvSpPr>
          <p:nvPr>
            <p:ph type="subTitle" idx="1"/>
          </p:nvPr>
        </p:nvSpPr>
        <p:spPr>
          <a:xfrm>
            <a:off x="269303" y="3877271"/>
            <a:ext cx="6273417" cy="669927"/>
          </a:xfrm>
        </p:spPr>
        <p:txBody>
          <a:bodyPr lIns="146304" tIns="109728" rIns="146304" bIns="109728"/>
          <a:lstStyle>
            <a:lvl1pPr marL="0" indent="0" algn="l">
              <a:buNone/>
              <a:defRPr sz="2941" b="0" cap="none" spc="0" baseline="0">
                <a:solidFill>
                  <a:schemeClr val="accent6"/>
                </a:solidFill>
                <a:latin typeface="+mj-lt"/>
              </a:defRPr>
            </a:lvl1pPr>
            <a:lvl2pPr marL="529092" indent="0" algn="ctr">
              <a:buNone/>
              <a:defRPr>
                <a:solidFill>
                  <a:schemeClr val="tx1">
                    <a:tint val="75000"/>
                  </a:schemeClr>
                </a:solidFill>
              </a:defRPr>
            </a:lvl2pPr>
            <a:lvl3pPr marL="1058184" indent="0" algn="ctr">
              <a:buNone/>
              <a:defRPr>
                <a:solidFill>
                  <a:schemeClr val="tx1">
                    <a:tint val="75000"/>
                  </a:schemeClr>
                </a:solidFill>
              </a:defRPr>
            </a:lvl3pPr>
            <a:lvl4pPr marL="1587276" indent="0" algn="ctr">
              <a:buNone/>
              <a:defRPr>
                <a:solidFill>
                  <a:schemeClr val="tx1">
                    <a:tint val="75000"/>
                  </a:schemeClr>
                </a:solidFill>
              </a:defRPr>
            </a:lvl4pPr>
            <a:lvl5pPr marL="2116368" indent="0" algn="ctr">
              <a:buNone/>
              <a:defRPr>
                <a:solidFill>
                  <a:schemeClr val="tx1">
                    <a:tint val="75000"/>
                  </a:schemeClr>
                </a:solidFill>
              </a:defRPr>
            </a:lvl5pPr>
            <a:lvl6pPr marL="2645460" indent="0" algn="ctr">
              <a:buNone/>
              <a:defRPr>
                <a:solidFill>
                  <a:schemeClr val="tx1">
                    <a:tint val="75000"/>
                  </a:schemeClr>
                </a:solidFill>
              </a:defRPr>
            </a:lvl6pPr>
            <a:lvl7pPr marL="3174553" indent="0" algn="ctr">
              <a:buNone/>
              <a:defRPr>
                <a:solidFill>
                  <a:schemeClr val="tx1">
                    <a:tint val="75000"/>
                  </a:schemeClr>
                </a:solidFill>
              </a:defRPr>
            </a:lvl7pPr>
            <a:lvl8pPr marL="3703644" indent="0" algn="ctr">
              <a:buNone/>
              <a:defRPr>
                <a:solidFill>
                  <a:schemeClr val="tx1">
                    <a:tint val="75000"/>
                  </a:schemeClr>
                </a:solidFill>
              </a:defRPr>
            </a:lvl8pPr>
            <a:lvl9pPr marL="4232736"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title"/>
          </p:nvPr>
        </p:nvSpPr>
        <p:spPr/>
        <p:txBody>
          <a:bodyPr/>
          <a:lstStyle/>
          <a:p>
            <a:r>
              <a:rPr lang="en-US"/>
              <a:t>Click to edit Master title style</a:t>
            </a:r>
          </a:p>
        </p:txBody>
      </p:sp>
      <p:pic>
        <p:nvPicPr>
          <p:cNvPr id="32322" name="Picture 578" descr="https://qzevents.files.wordpress.com/2015/05/microsoft-logo-white-png.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840686" y="5867400"/>
            <a:ext cx="2084394" cy="76673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pecial</a:t>
            </a: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422477"/>
          </a:xfrm>
        </p:spPr>
        <p:txBody>
          <a:bodyPr>
            <a:spAutoFit/>
          </a:bodyPr>
          <a:lstStyle>
            <a:lvl1pPr>
              <a:defRPr sz="1568"/>
            </a:lvl1pPr>
            <a:lvl2pPr>
              <a:defRPr sz="1765"/>
            </a:lvl2pPr>
            <a:lvl3pPr>
              <a:defRPr sz="1765"/>
            </a:lvl3pPr>
            <a:lvl4pPr>
              <a:defRPr sz="1568"/>
            </a:lvl4pPr>
            <a:lvl5pPr>
              <a:defRPr sz="1568"/>
            </a:lvl5pPr>
          </a:lstStyle>
          <a:p>
            <a:pPr lvl="0"/>
            <a:r>
              <a:rPr lang="en-US"/>
              <a:t>Click to edit Master text styles</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r>
              <a:rPr lang="en-US"/>
              <a:t>Click to edit Master text styles</a:t>
            </a:r>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Title Light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ection Title Purple">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839880"/>
          </a:xfrm>
        </p:spPr>
        <p:txBody>
          <a:bodyPr anchor="t" anchorCtr="0">
            <a:spAutoFit/>
          </a:bodyPr>
          <a:lstStyle>
            <a:lvl1pPr>
              <a:defRPr sz="8627">
                <a:solidFill>
                  <a:schemeClr val="bg1"/>
                </a:solidFill>
              </a:defRPr>
            </a:lvl1pPr>
          </a:lstStyle>
          <a:p>
            <a:r>
              <a:rPr lang="en-US"/>
              <a:t>Click to edit Master title style</a:t>
            </a:r>
          </a:p>
        </p:txBody>
      </p:sp>
    </p:spTree>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Idea">
    <p:spTree>
      <p:nvGrpSpPr>
        <p:cNvPr id="1" name=""/>
        <p:cNvGrpSpPr/>
        <p:nvPr/>
      </p:nvGrpSpPr>
      <p:grpSpPr>
        <a:xfrm>
          <a:off x="0" y="0"/>
          <a:ext cx="0" cy="0"/>
          <a:chOff x="0" y="0"/>
          <a:chExt cx="0" cy="0"/>
        </a:xfrm>
      </p:grpSpPr>
      <p:sp>
        <p:nvSpPr>
          <p:cNvPr id="3" name="Title 1"/>
          <p:cNvSpPr txBox="1">
            <a:spLocks/>
          </p:cNvSpPr>
          <p:nvPr userDrawn="1"/>
        </p:nvSpPr>
        <p:spPr bwMode="auto">
          <a:xfrm>
            <a:off x="277021" y="2106292"/>
            <a:ext cx="11655840" cy="2832609"/>
          </a:xfrm>
          <a:prstGeom prst="rect">
            <a:avLst/>
          </a:prstGeom>
          <a:noFill/>
          <a:ln w="9525" algn="ctr">
            <a:noFill/>
            <a:miter lim="800000"/>
            <a:headEnd/>
            <a:tailEnd/>
          </a:ln>
          <a:effectLst/>
        </p:spPr>
        <p:txBody>
          <a:bodyPr vert="horz" wrap="square" lIns="143428" tIns="89642" rIns="143428" bIns="89642" numCol="1" anchor="ctr" anchorCtr="0" compatLnSpc="1">
            <a:prstTxWarp prst="textNoShape">
              <a:avLst/>
            </a:prstTxWarp>
          </a:bodyPr>
          <a:lstStyle>
            <a:lvl1pPr algn="ctr">
              <a:defRPr sz="8800" baseline="0"/>
            </a:lvl1pPr>
          </a:lstStyle>
          <a:p>
            <a:pPr defTabSz="1028791" fontAlgn="base">
              <a:spcBef>
                <a:spcPct val="0"/>
              </a:spcBef>
              <a:spcAft>
                <a:spcPct val="0"/>
              </a:spcAft>
              <a:defRPr/>
            </a:pPr>
            <a:endParaRPr lang="en-US" sz="8627" kern="0">
              <a:solidFill>
                <a:srgbClr val="0072C6"/>
              </a:solidFill>
              <a:latin typeface="Segoe UI Light"/>
            </a:endParaRPr>
          </a:p>
        </p:txBody>
      </p:sp>
      <p:sp>
        <p:nvSpPr>
          <p:cNvPr id="4" name="Title 1"/>
          <p:cNvSpPr>
            <a:spLocks noGrp="1"/>
          </p:cNvSpPr>
          <p:nvPr>
            <p:ph type="title"/>
          </p:nvPr>
        </p:nvSpPr>
        <p:spPr>
          <a:xfrm>
            <a:off x="277021" y="2106292"/>
            <a:ext cx="11655840" cy="2840637"/>
          </a:xfrm>
        </p:spPr>
        <p:txBody>
          <a:bodyPr anchor="ctr"/>
          <a:lstStyle>
            <a:lvl1pPr algn="ctr">
              <a:defRPr sz="8627" baseline="0">
                <a:solidFill>
                  <a:schemeClr val="accent6"/>
                </a:solidFill>
              </a:defRPr>
            </a:lvl1pPr>
          </a:lstStyle>
          <a:p>
            <a:r>
              <a:rPr lang="en-US"/>
              <a:t>Click to edit Master title style</a:t>
            </a:r>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Idea on Blue">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ctr">
              <a:defRPr sz="8627" baseline="0">
                <a:gradFill>
                  <a:gsLst>
                    <a:gs pos="13139">
                      <a:srgbClr val="FFFFFF"/>
                    </a:gs>
                    <a:gs pos="45000">
                      <a:srgbClr val="FFFFFF"/>
                    </a:gs>
                  </a:gsLst>
                  <a:lin ang="5400000" scaled="0"/>
                </a:gradFill>
              </a:defRPr>
            </a:lvl1pPr>
          </a:lstStyle>
          <a:p>
            <a:r>
              <a:rPr lang="en-US"/>
              <a:t>Click to edit Master title style</a:t>
            </a:r>
          </a:p>
        </p:txBody>
      </p:sp>
    </p:spTree>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ck Notes slide Layout">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bwMode="white">
          <a:xfrm>
            <a:off x="269239" y="2092120"/>
            <a:ext cx="11653523" cy="422477"/>
          </a:xfrm>
          <a:prstGeom prst="rect">
            <a:avLst/>
          </a:prstGeom>
        </p:spPr>
        <p:txBody>
          <a:bodyPr/>
          <a:lstStyle>
            <a:lvl1pPr marL="284790" indent="-284790">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1pPr>
            <a:lvl2pPr marL="560241" indent="-275453">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2pPr>
            <a:lvl3pPr marL="845031" indent="-284790">
              <a:buClrTx/>
              <a:buSzPct val="90000"/>
              <a:buFont typeface="Arial" pitchFamily="34" charset="0"/>
              <a:buChar char="–"/>
              <a:defRPr sz="1568">
                <a:solidFill>
                  <a:schemeClr val="bg1"/>
                </a:solidFill>
                <a:latin typeface="Segoe UI" pitchFamily="34" charset="0"/>
                <a:ea typeface="Segoe UI" pitchFamily="34" charset="0"/>
                <a:cs typeface="Segoe UI" pitchFamily="34" charset="0"/>
              </a:defRPr>
            </a:lvl3pPr>
            <a:lvl4pPr marL="1069128" indent="-224097">
              <a:buClrTx/>
              <a:buSzPct val="90000"/>
              <a:buFont typeface="Wingdings" panose="05000000000000000000" pitchFamily="2" charset="2"/>
              <a:buChar char="§"/>
              <a:defRPr sz="1568">
                <a:solidFill>
                  <a:schemeClr val="bg1"/>
                </a:solidFill>
                <a:latin typeface="Segoe UI" pitchFamily="34" charset="0"/>
                <a:ea typeface="Segoe UI" pitchFamily="34" charset="0"/>
                <a:cs typeface="Segoe UI" pitchFamily="34" charset="0"/>
              </a:defRPr>
            </a:lvl4pPr>
            <a:lvl5pPr marL="1293225" indent="-224097">
              <a:buClrTx/>
              <a:buSzPct val="90000"/>
              <a:buFont typeface="Wingdings" panose="05000000000000000000" pitchFamily="2" charset="2"/>
              <a:buChar char="§"/>
              <a:defRPr sz="1961">
                <a:solidFill>
                  <a:schemeClr val="bg1"/>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505050"/>
          </a:solidFill>
        </p:spPr>
        <p:txBody>
          <a:bodyPr wrap="square" lIns="155457" tIns="77729" rIns="155457" bIns="77729" anchor="b" anchorCtr="0">
            <a:noAutofit/>
          </a:bodyPr>
          <a:lstStyle>
            <a:lvl1pPr algn="r">
              <a:buFont typeface="Arial" pitchFamily="34" charset="0"/>
              <a:buNone/>
              <a:defRPr sz="3627" spc="-50" baseline="0">
                <a:solidFill>
                  <a:srgbClr val="FFFFFF"/>
                </a:solidFill>
                <a:effectLst/>
                <a:latin typeface="Segoe UI" pitchFamily="34" charset="0"/>
                <a:ea typeface="Segoe UI" pitchFamily="34" charset="0"/>
                <a:cs typeface="Segoe UI" pitchFamily="34" charset="0"/>
              </a:defRPr>
            </a:lvl1pPr>
          </a:lstStyle>
          <a:p>
            <a:pPr lvl="0"/>
            <a:r>
              <a:rPr lang="en-US"/>
              <a:t>Next:</a:t>
            </a:r>
          </a:p>
        </p:txBody>
      </p:sp>
      <p:sp>
        <p:nvSpPr>
          <p:cNvPr id="5" name="Title 2"/>
          <p:cNvSpPr>
            <a:spLocks noGrp="1"/>
          </p:cNvSpPr>
          <p:nvPr>
            <p:ph type="title"/>
          </p:nvPr>
        </p:nvSpPr>
        <p:spPr bwMode="white">
          <a:xfrm>
            <a:off x="269240" y="289511"/>
            <a:ext cx="11655840" cy="899665"/>
          </a:xfrm>
        </p:spPr>
        <p:txBody>
          <a:bodyPr/>
          <a:lstStyle>
            <a:lvl1pPr>
              <a:defRPr>
                <a:solidFill>
                  <a:schemeClr val="bg1"/>
                </a:solidFill>
                <a:latin typeface="Segoe UI" pitchFamily="34" charset="0"/>
                <a:ea typeface="Segoe UI" pitchFamily="34" charset="0"/>
                <a:cs typeface="Segoe UI" pitchFamily="34" charset="0"/>
              </a:defRPr>
            </a:lvl1pPr>
          </a:lstStyle>
          <a:p>
            <a:r>
              <a:rPr lang="en-US"/>
              <a:t>Click to edit Master title style</a:t>
            </a: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fontAlgn="base" hangingPunct="0"/>
            <a:r>
              <a:rPr lang="en-US" sz="686">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fontAlgn="base" hangingPunct="0"/>
            <a:r>
              <a:rPr lang="en-US" sz="686">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4AC02-1F90-4A5A-B06F-45FA9A8B6C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27939F-0656-4D0C-A74B-D8FE6C8F8C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20A3B37-D034-4CFE-8A88-C9D79CDB187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D91B40-2DB4-4695-BCA3-8BC79F3126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1D8EC05-18C2-48B1-8A46-8AE24001620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9B7956-C2F1-4B40-AF8E-3F3F7E15BCC1}"/>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8" name="Footer Placeholder 7">
            <a:extLst>
              <a:ext uri="{FF2B5EF4-FFF2-40B4-BE49-F238E27FC236}">
                <a16:creationId xmlns:a16="http://schemas.microsoft.com/office/drawing/2014/main" id="{DA73FBE4-1A21-43FE-A31E-1C8406DCD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7FED998-04BE-4C28-931F-E15B150C916A}"/>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30029758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rgbClr val="002060"/>
          </a:solidFill>
          <a:ln w="12700" cap="flat" cmpd="sng" algn="ctr">
            <a:noFill/>
            <a:prstDash val="solid"/>
            <a:miter lim="800000"/>
          </a:ln>
          <a:effectLst/>
        </p:spPr>
        <p:txBody>
          <a:bodyPr rtlCol="0" anchor="ctr"/>
          <a:lstStyle/>
          <a:p>
            <a:pPr algn="ctr"/>
            <a:endParaRPr lang="en-US" kern="0">
              <a:solidFill>
                <a:prstClr val="white"/>
              </a:solidFill>
            </a:endParaRPr>
          </a:p>
        </p:txBody>
      </p:sp>
      <p:sp>
        <p:nvSpPr>
          <p:cNvPr id="3" name="Content Placeholder 2"/>
          <p:cNvSpPr>
            <a:spLocks noGrp="1"/>
          </p:cNvSpPr>
          <p:nvPr>
            <p:ph idx="1"/>
          </p:nvPr>
        </p:nvSpPr>
        <p:spPr>
          <a:xfrm>
            <a:off x="838200" y="1825625"/>
            <a:ext cx="10515600" cy="4351338"/>
          </a:xfrm>
          <a:prstGeom prst="rect">
            <a:avLst/>
          </a:prstGeom>
        </p:spPr>
        <p:txBody>
          <a:bodyPr/>
          <a:lstStyle>
            <a:lvl1pPr marL="228600" indent="-228600">
              <a:buFont typeface="Wingdings" panose="05000000000000000000" pitchFamily="2" charset="2"/>
              <a:buChar char="§"/>
              <a:defRPr>
                <a:latin typeface="Segoe UI" panose="020B0502040204020203" pitchFamily="34" charset="0"/>
                <a:cs typeface="Segoe UI" panose="020B0502040204020203" pitchFamily="34" charset="0"/>
              </a:defRPr>
            </a:lvl1pPr>
            <a:lvl2pPr marL="685800" indent="-228600">
              <a:buFont typeface="Wingdings" panose="05000000000000000000" pitchFamily="2" charset="2"/>
              <a:buChar char="§"/>
              <a:defRPr>
                <a:latin typeface="Segoe UI" panose="020B0502040204020203" pitchFamily="34" charset="0"/>
                <a:cs typeface="Segoe UI" panose="020B0502040204020203" pitchFamily="34" charset="0"/>
              </a:defRPr>
            </a:lvl2pPr>
            <a:lvl3pPr marL="1143000" indent="-228600">
              <a:buFont typeface="Wingdings" panose="05000000000000000000" pitchFamily="2" charset="2"/>
              <a:buChar char="§"/>
              <a:defRPr>
                <a:latin typeface="Segoe UI" panose="020B0502040204020203" pitchFamily="34" charset="0"/>
                <a:cs typeface="Segoe UI" panose="020B0502040204020203" pitchFamily="34" charset="0"/>
              </a:defRPr>
            </a:lvl3pPr>
            <a:lvl4pPr marL="1600200" indent="-228600">
              <a:buFont typeface="Wingdings" panose="05000000000000000000" pitchFamily="2" charset="2"/>
              <a:buChar char="§"/>
              <a:defRPr>
                <a:latin typeface="Segoe UI" panose="020B0502040204020203" pitchFamily="34" charset="0"/>
                <a:cs typeface="Segoe UI" panose="020B0502040204020203" pitchFamily="34" charset="0"/>
              </a:defRPr>
            </a:lvl4pPr>
            <a:lvl5pPr marL="2057400" indent="-228600">
              <a:buFont typeface="Wingdings" panose="05000000000000000000" pitchFamily="2" charset="2"/>
              <a:buChar char="§"/>
              <a:defRPr>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2"/>
          </p:nvPr>
        </p:nvSpPr>
        <p:spPr>
          <a:xfrm>
            <a:off x="9410705" y="6477378"/>
            <a:ext cx="2743200" cy="365125"/>
          </a:xfrm>
          <a:prstGeom prst="rect">
            <a:avLst/>
          </a:prstGeom>
        </p:spPr>
        <p:txBody>
          <a:bodyPr/>
          <a:lstStyle>
            <a:lvl1pPr>
              <a:defRPr>
                <a:latin typeface="Segoe UI" panose="020B0502040204020203" pitchFamily="34" charset="0"/>
                <a:cs typeface="Segoe UI" panose="020B0502040204020203" pitchFamily="34" charset="0"/>
              </a:defRPr>
            </a:lvl1pPr>
          </a:lstStyle>
          <a:p>
            <a:fld id="{114FF349-2143-426B-B8CB-94B0C3CE38BC}" type="slidenum">
              <a:rPr lang="en-US" smtClean="0">
                <a:solidFill>
                  <a:prstClr val="black">
                    <a:tint val="75000"/>
                  </a:prstClr>
                </a:solidFill>
              </a:rPr>
              <a:pPr/>
              <a:t>‹#›</a:t>
            </a:fld>
            <a:endParaRPr lang="en-US">
              <a:solidFill>
                <a:prstClr val="black">
                  <a:tint val="75000"/>
                </a:prstClr>
              </a:solidFill>
            </a:endParaRPr>
          </a:p>
        </p:txBody>
      </p:sp>
      <p:sp>
        <p:nvSpPr>
          <p:cNvPr id="6" name="Title Placeholder 2"/>
          <p:cNvSpPr>
            <a:spLocks noGrp="1"/>
          </p:cNvSpPr>
          <p:nvPr>
            <p:ph type="title"/>
          </p:nvPr>
        </p:nvSpPr>
        <p:spPr>
          <a:xfrm>
            <a:off x="609600" y="136525"/>
            <a:ext cx="11118222" cy="914400"/>
          </a:xfrm>
          <a:prstGeom prst="rect">
            <a:avLst/>
          </a:prstGeom>
        </p:spPr>
        <p:txBody>
          <a:bodyPr vert="horz" lIns="91440" tIns="45720" rIns="91440" bIns="45720" rtlCol="0" anchor="ctr">
            <a:noAutofit/>
          </a:bodyPr>
          <a:lstStyle/>
          <a:p>
            <a:r>
              <a:rPr lang="en-US"/>
              <a:t>Click to edit Master title style</a:t>
            </a: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1177126"/>
          </a:xfrm>
          <a:prstGeom prst="rect">
            <a:avLst/>
          </a:prstGeom>
          <a:solidFill>
            <a:sysClr val="window" lastClr="FFFFFF">
              <a:lumMod val="50000"/>
            </a:sysClr>
          </a:solidFill>
          <a:ln w="12700" cap="flat" cmpd="sng" algn="ctr">
            <a:noFill/>
            <a:prstDash val="solid"/>
            <a:miter lim="800000"/>
          </a:ln>
          <a:effectLst/>
        </p:spPr>
        <p:txBody>
          <a:bodyPr rtlCol="0" anchor="ctr"/>
          <a:lstStyle/>
          <a:p>
            <a:pPr algn="ctr">
              <a:defRPr/>
            </a:pPr>
            <a:endParaRPr lang="en-US" kern="0">
              <a:solidFill>
                <a:prstClr val="white"/>
              </a:solidFill>
            </a:endParaRPr>
          </a:p>
        </p:txBody>
      </p:sp>
      <p:sp>
        <p:nvSpPr>
          <p:cNvPr id="2" name="Title 1"/>
          <p:cNvSpPr>
            <a:spLocks noGrp="1"/>
          </p:cNvSpPr>
          <p:nvPr>
            <p:ph type="title"/>
          </p:nvPr>
        </p:nvSpPr>
        <p:spPr>
          <a:xfrm>
            <a:off x="584462" y="289511"/>
            <a:ext cx="11340618" cy="899665"/>
          </a:xfrm>
        </p:spPr>
        <p:txBody>
          <a:bodyPr/>
          <a:lstStyle>
            <a:lvl1pPr>
              <a:defRPr sz="4000">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269239" y="1189177"/>
            <a:ext cx="11653523" cy="2006575"/>
          </a:xfrm>
        </p:spPr>
        <p:txBody>
          <a:bodyPr/>
          <a:lstStyle>
            <a:lvl1pPr marL="0" indent="0">
              <a:buNone/>
              <a:defRPr sz="4000">
                <a:solidFill>
                  <a:srgbClr val="000000"/>
                </a:solidFill>
                <a:latin typeface="+mn-lt"/>
              </a:defRPr>
            </a:lvl1pPr>
            <a:lvl2pPr marL="0" indent="0">
              <a:buFontTx/>
              <a:buNone/>
              <a:defRPr sz="2000">
                <a:solidFill>
                  <a:srgbClr val="000000"/>
                </a:solidFill>
                <a:latin typeface="+mn-lt"/>
              </a:defRPr>
            </a:lvl2pPr>
            <a:lvl3pPr marL="224097" indent="0">
              <a:buNone/>
              <a:defRPr sz="2000">
                <a:solidFill>
                  <a:srgbClr val="000000"/>
                </a:solidFill>
                <a:latin typeface="+mn-lt"/>
              </a:defRPr>
            </a:lvl3pPr>
            <a:lvl4pPr marL="448193" indent="0">
              <a:buNone/>
              <a:defRPr sz="1800">
                <a:solidFill>
                  <a:srgbClr val="000000"/>
                </a:solidFill>
                <a:latin typeface="+mn-lt"/>
              </a:defRPr>
            </a:lvl4pPr>
            <a:lvl5pPr marL="672290" indent="0">
              <a:buNone/>
              <a:defRPr sz="1800">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11368586" y="6410572"/>
            <a:ext cx="830220" cy="436530"/>
          </a:xfrm>
          <a:prstGeom prst="rect">
            <a:avLst/>
          </a:prstGeom>
          <a:noFill/>
        </p:spPr>
        <p:txBody>
          <a:bodyPr wrap="square" lIns="182880" tIns="146304" rIns="182880" bIns="146304" rtlCol="0">
            <a:spAutoFit/>
          </a:bodyPr>
          <a:lstStyle/>
          <a:p>
            <a:pPr algn="r">
              <a:lnSpc>
                <a:spcPct val="90000"/>
              </a:lnSpc>
              <a:spcAft>
                <a:spcPts val="600"/>
              </a:spcAft>
              <a:defRPr/>
            </a:pPr>
            <a:fld id="{7926EC7F-CF5C-48F7-AE01-C04176AA88D8}" type="slidenum">
              <a:rPr lang="en-US" sz="1000">
                <a:solidFill>
                  <a:prstClr val="white">
                    <a:lumMod val="50000"/>
                  </a:prstClr>
                </a:solidFill>
              </a:rPr>
              <a:pPr algn="r">
                <a:lnSpc>
                  <a:spcPct val="90000"/>
                </a:lnSpc>
                <a:spcAft>
                  <a:spcPts val="600"/>
                </a:spcAft>
                <a:defRPr/>
              </a:pPr>
              <a:t>‹#›</a:t>
            </a:fld>
            <a:endParaRPr lang="en-US" sz="1000" err="1">
              <a:solidFill>
                <a:prstClr val="white">
                  <a:lumMod val="50000"/>
                </a:prstClr>
              </a:solidFill>
            </a:endParaRPr>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2050"/>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231246" y="825172"/>
            <a:ext cx="2689274" cy="5972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hashtag</a:t>
            </a:r>
          </a:p>
        </p:txBody>
      </p:sp>
      <p:sp>
        <p:nvSpPr>
          <p:cNvPr id="15" name="Text Placeholder 4"/>
          <p:cNvSpPr>
            <a:spLocks noGrp="1"/>
          </p:cNvSpPr>
          <p:nvPr>
            <p:ph type="body" sz="quarter" idx="16" hasCustomPrompt="1"/>
          </p:nvPr>
        </p:nvSpPr>
        <p:spPr>
          <a:xfrm>
            <a:off x="8783003" y="299807"/>
            <a:ext cx="3137517" cy="5972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General 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3814219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7818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530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86369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32995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6904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0093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E9967-A7E8-4CC4-895A-C74169AAA46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BE974F4-6016-4DCB-809A-20E50C6C5726}"/>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4" name="Footer Placeholder 3">
            <a:extLst>
              <a:ext uri="{FF2B5EF4-FFF2-40B4-BE49-F238E27FC236}">
                <a16:creationId xmlns:a16="http://schemas.microsoft.com/office/drawing/2014/main" id="{305C36D8-C7EC-42D0-9E50-4A3052D197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B59976-A14D-4BC7-A94A-92784A6049C0}"/>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2236615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482711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87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63482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8470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771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65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endParaRPr lang="en-US" dirty="0"/>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397504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749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40430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06069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86CA15-B5C8-4FD6-8C9E-2EF638084A85}"/>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3" name="Footer Placeholder 2">
            <a:extLst>
              <a:ext uri="{FF2B5EF4-FFF2-40B4-BE49-F238E27FC236}">
                <a16:creationId xmlns:a16="http://schemas.microsoft.com/office/drawing/2014/main" id="{50335128-0C31-4A7C-A7BF-CCBF332E7E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DB2EDFD-DD12-4D29-8B21-280EA357F018}"/>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19111946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135" algn="l"/>
              </a:tabLst>
              <a:defRPr sz="2666"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219200"/>
            <a:ext cx="2438400" cy="439640"/>
          </a:xfrm>
          <a:prstGeom prst="rect">
            <a:avLst/>
          </a:prstGeom>
          <a:noFill/>
        </p:spPr>
        <p:txBody>
          <a:bodyPr vert="horz"/>
          <a:lstStyle>
            <a:lvl1pPr marL="0" indent="0">
              <a:spcBef>
                <a:spcPts val="800"/>
              </a:spcBef>
              <a:buFontTx/>
              <a:buNone/>
              <a:defRPr sz="1866" baseline="0">
                <a:solidFill>
                  <a:schemeClr val="tx1"/>
                </a:solidFill>
                <a:latin typeface="+mn-lt"/>
                <a:cs typeface="Segoe UI Semibold"/>
              </a:defRPr>
            </a:lvl1pPr>
          </a:lstStyle>
          <a:p>
            <a:pPr lvl="0"/>
            <a:r>
              <a:rPr lang="en-US" dirty="0"/>
              <a:t>Enter header here.</a:t>
            </a:r>
          </a:p>
        </p:txBody>
      </p:sp>
      <p:sp>
        <p:nvSpPr>
          <p:cNvPr id="5"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914367"/>
            <a:fld id="{74A398B2-5A34-1A4A-811E-F4027282568C}" type="slidenum">
              <a:rPr lang="en-US" smtClean="0">
                <a:solidFill>
                  <a:srgbClr val="FFFFFF">
                    <a:tint val="75000"/>
                  </a:srgbClr>
                </a:solidFill>
              </a:rPr>
              <a:pPr defTabSz="914367"/>
              <a:t>‹#›</a:t>
            </a:fld>
            <a:endParaRPr lang="en-US" dirty="0">
              <a:solidFill>
                <a:srgbClr val="FFFFFF">
                  <a:tint val="75000"/>
                </a:srgbClr>
              </a:solidFill>
            </a:endParaRPr>
          </a:p>
        </p:txBody>
      </p:sp>
    </p:spTree>
    <p:extLst>
      <p:ext uri="{BB962C8B-B14F-4D97-AF65-F5344CB8AC3E}">
        <p14:creationId xmlns:p14="http://schemas.microsoft.com/office/powerpoint/2010/main" val="28154020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16197853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5114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336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82415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435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956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10855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69360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842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1A9D-0685-4549-B1F3-E4C9155630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97353A-098F-4104-B650-31F8D447A46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717689-872F-4251-A11B-C12426409F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80D2D25-E4F5-439A-A4A4-54E5F2E13FA9}"/>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6" name="Footer Placeholder 5">
            <a:extLst>
              <a:ext uri="{FF2B5EF4-FFF2-40B4-BE49-F238E27FC236}">
                <a16:creationId xmlns:a16="http://schemas.microsoft.com/office/drawing/2014/main" id="{417A9765-64AB-43B2-86F1-1247B91319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F972BB-C5D0-4554-A357-863C8821D64E}"/>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9207036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70052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7893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9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261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59606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72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rgbClr val="FFFFFF"/>
                    </a:gs>
                    <a:gs pos="100000">
                      <a:srgbClr val="FFFFFF"/>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449319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94407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40" tIns="45720">
            <a:normAutofit/>
          </a:bodyPr>
          <a:lstStyle>
            <a:lvl1pPr marL="0" indent="0">
              <a:spcBef>
                <a:spcPts val="800"/>
              </a:spcBef>
              <a:buFontTx/>
              <a:buNone/>
              <a:tabLst>
                <a:tab pos="840135" algn="l"/>
              </a:tabLst>
              <a:defRPr sz="2666"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a:t>4	Section Title</a:t>
            </a:r>
          </a:p>
        </p:txBody>
      </p:sp>
      <p:sp>
        <p:nvSpPr>
          <p:cNvPr id="7" name="Text Placeholder 12"/>
          <p:cNvSpPr>
            <a:spLocks noGrp="1"/>
          </p:cNvSpPr>
          <p:nvPr>
            <p:ph type="body" sz="quarter" idx="14" hasCustomPrompt="1"/>
          </p:nvPr>
        </p:nvSpPr>
        <p:spPr>
          <a:xfrm>
            <a:off x="0" y="1219200"/>
            <a:ext cx="2438400" cy="439640"/>
          </a:xfrm>
          <a:prstGeom prst="rect">
            <a:avLst/>
          </a:prstGeom>
          <a:noFill/>
        </p:spPr>
        <p:txBody>
          <a:bodyPr vert="horz"/>
          <a:lstStyle>
            <a:lvl1pPr marL="0" indent="0">
              <a:spcBef>
                <a:spcPts val="800"/>
              </a:spcBef>
              <a:buFontTx/>
              <a:buNone/>
              <a:defRPr sz="1866" baseline="0">
                <a:solidFill>
                  <a:schemeClr val="tx1"/>
                </a:solidFill>
                <a:latin typeface="+mn-lt"/>
                <a:cs typeface="Segoe UI Semibold"/>
              </a:defRPr>
            </a:lvl1pPr>
          </a:lstStyle>
          <a:p>
            <a:pPr lvl="0"/>
            <a:r>
              <a:rPr lang="en-US"/>
              <a:t>Enter header here.</a:t>
            </a:r>
          </a:p>
        </p:txBody>
      </p:sp>
      <p:sp>
        <p:nvSpPr>
          <p:cNvPr id="5"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7" kern="800">
                <a:solidFill>
                  <a:schemeClr val="tx1">
                    <a:tint val="75000"/>
                  </a:schemeClr>
                </a:solidFill>
                <a:latin typeface="+mn-lt"/>
                <a:cs typeface="Segoe UI Light"/>
              </a:defRPr>
            </a:lvl1pPr>
          </a:lstStyle>
          <a:p>
            <a:pPr defTabSz="914367"/>
            <a:fld id="{74A398B2-5A34-1A4A-811E-F4027282568C}" type="slidenum">
              <a:rPr lang="en-US" smtClean="0">
                <a:solidFill>
                  <a:srgbClr val="FFFFFF">
                    <a:tint val="75000"/>
                  </a:srgbClr>
                </a:solidFill>
              </a:rPr>
              <a:pPr defTabSz="914367"/>
              <a:t>‹#›</a:t>
            </a:fld>
            <a:endParaRPr lang="en-US">
              <a:solidFill>
                <a:srgbClr val="FFFFFF">
                  <a:tint val="75000"/>
                </a:srgbClr>
              </a:solidFill>
            </a:endParaRPr>
          </a:p>
        </p:txBody>
      </p:sp>
    </p:spTree>
    <p:extLst>
      <p:ext uri="{BB962C8B-B14F-4D97-AF65-F5344CB8AC3E}">
        <p14:creationId xmlns:p14="http://schemas.microsoft.com/office/powerpoint/2010/main" val="16681766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ACCD8-0FE3-2C45-ADCE-18AB80B86A2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C6E011-4888-B540-8560-66D472C971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ED8DB0-5FAF-D540-A1D0-6BE9EE2E165E}"/>
              </a:ext>
            </a:extLst>
          </p:cNvPr>
          <p:cNvSpPr>
            <a:spLocks noGrp="1"/>
          </p:cNvSpPr>
          <p:nvPr>
            <p:ph type="dt" sz="half" idx="10"/>
          </p:nvPr>
        </p:nvSpPr>
        <p:spPr/>
        <p:txBody>
          <a:bodyPr/>
          <a:lstStyle/>
          <a:p>
            <a:fld id="{6D6CC102-452E-3346-89D8-CA36DDA94688}" type="datetimeFigureOut">
              <a:rPr lang="en-US" smtClean="0"/>
              <a:t>9/18/2020</a:t>
            </a:fld>
            <a:endParaRPr lang="en-US"/>
          </a:p>
        </p:txBody>
      </p:sp>
      <p:sp>
        <p:nvSpPr>
          <p:cNvPr id="5" name="Footer Placeholder 4">
            <a:extLst>
              <a:ext uri="{FF2B5EF4-FFF2-40B4-BE49-F238E27FC236}">
                <a16:creationId xmlns:a16="http://schemas.microsoft.com/office/drawing/2014/main" id="{FE957A3D-E176-E04B-A92B-567DB30500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7D0A4E-D0D3-0F43-8C64-65DD81881E8C}"/>
              </a:ext>
            </a:extLst>
          </p:cNvPr>
          <p:cNvSpPr>
            <a:spLocks noGrp="1"/>
          </p:cNvSpPr>
          <p:nvPr>
            <p:ph type="sldNum" sz="quarter" idx="12"/>
          </p:nvPr>
        </p:nvSpPr>
        <p:spPr/>
        <p:txBody>
          <a:bodyPr/>
          <a:lstStyle/>
          <a:p>
            <a:fld id="{1766D3B5-3207-034E-8F86-8B6C8ECF3EB7}" type="slidenum">
              <a:rPr lang="en-US" smtClean="0"/>
              <a:t>‹#›</a:t>
            </a:fld>
            <a:endParaRPr lang="en-US"/>
          </a:p>
        </p:txBody>
      </p:sp>
    </p:spTree>
    <p:extLst>
      <p:ext uri="{BB962C8B-B14F-4D97-AF65-F5344CB8AC3E}">
        <p14:creationId xmlns:p14="http://schemas.microsoft.com/office/powerpoint/2010/main" val="596763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D8BE7-EC94-413E-AD47-7E9D58CF5C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889A91-9BB9-4535-B567-20B09C1AC8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5625FFE-942C-42A8-8987-59A1CFAD1F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3E33773-3245-445F-BE84-05EE56427BFF}"/>
              </a:ext>
            </a:extLst>
          </p:cNvPr>
          <p:cNvSpPr>
            <a:spLocks noGrp="1"/>
          </p:cNvSpPr>
          <p:nvPr>
            <p:ph type="dt" sz="half" idx="10"/>
          </p:nvPr>
        </p:nvSpPr>
        <p:spPr/>
        <p:txBody>
          <a:bodyPr/>
          <a:lstStyle/>
          <a:p>
            <a:fld id="{4F4DE817-85B7-4E3B-A753-E2244587DA06}" type="datetimeFigureOut">
              <a:rPr lang="en-US" smtClean="0"/>
              <a:t>9/18/2020</a:t>
            </a:fld>
            <a:endParaRPr lang="en-US"/>
          </a:p>
        </p:txBody>
      </p:sp>
      <p:sp>
        <p:nvSpPr>
          <p:cNvPr id="6" name="Footer Placeholder 5">
            <a:extLst>
              <a:ext uri="{FF2B5EF4-FFF2-40B4-BE49-F238E27FC236}">
                <a16:creationId xmlns:a16="http://schemas.microsoft.com/office/drawing/2014/main" id="{ADAA0B9C-B571-42FA-8A8A-AD7B89B509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A0C601-93B4-47E0-BF46-B423C506A167}"/>
              </a:ext>
            </a:extLst>
          </p:cNvPr>
          <p:cNvSpPr>
            <a:spLocks noGrp="1"/>
          </p:cNvSpPr>
          <p:nvPr>
            <p:ph type="sldNum" sz="quarter" idx="12"/>
          </p:nvPr>
        </p:nvSpPr>
        <p:spPr/>
        <p:txBody>
          <a:bodyPr/>
          <a:lstStyle/>
          <a:p>
            <a:fld id="{A9464736-8B66-489A-8CC8-55AA222BCBF7}" type="slidenum">
              <a:rPr lang="en-US" smtClean="0"/>
              <a:t>‹#›</a:t>
            </a:fld>
            <a:endParaRPr lang="en-US"/>
          </a:p>
        </p:txBody>
      </p:sp>
    </p:spTree>
    <p:extLst>
      <p:ext uri="{BB962C8B-B14F-4D97-AF65-F5344CB8AC3E}">
        <p14:creationId xmlns:p14="http://schemas.microsoft.com/office/powerpoint/2010/main" val="263536260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3D7952D-0CB1-4ED7-A89C-A149A0F9A488}" type="datetimeFigureOut">
              <a:rPr lang="en-GB" smtClean="0"/>
              <a:t>18/09/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6B78235-5C68-4764-BE0D-F22198E245EE}" type="slidenum">
              <a:rPr lang="en-GB" smtClean="0"/>
              <a:t>‹#›</a:t>
            </a:fld>
            <a:endParaRPr lang="en-GB"/>
          </a:p>
        </p:txBody>
      </p:sp>
    </p:spTree>
    <p:extLst>
      <p:ext uri="{BB962C8B-B14F-4D97-AF65-F5344CB8AC3E}">
        <p14:creationId xmlns:p14="http://schemas.microsoft.com/office/powerpoint/2010/main" val="31137516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5795226" cy="1037426"/>
          </a:xfrm>
          <a:prstGeom prst="rect">
            <a:avLst/>
          </a:prstGeom>
          <a:noFill/>
        </p:spPr>
        <p:txBody>
          <a:bodyPr wrap="none" lIns="179259" tIns="143407" rIns="179259" bIns="143407" rtlCol="0">
            <a:spAutoFit/>
          </a:bodyPr>
          <a:lstStyle/>
          <a:p>
            <a:pPr>
              <a:lnSpc>
                <a:spcPct val="90000"/>
              </a:lnSpc>
              <a:spcAft>
                <a:spcPts val="588"/>
              </a:spcAft>
            </a:pPr>
            <a:r>
              <a:rPr lang="en-US" sz="5293"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5"/>
            <a:ext cx="6274974" cy="1761636"/>
          </a:xfrm>
        </p:spPr>
        <p:txBody>
          <a:bodyPr lIns="182880" tIns="146304" rIns="182880" bIns="146304"/>
          <a:lstStyle>
            <a:lvl1pPr marL="0" indent="0">
              <a:buNone/>
              <a:defRPr sz="5293"/>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p:nvSpPr>
        <p:spPr>
          <a:xfrm>
            <a:off x="202095" y="259969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761636"/>
          </a:xfrm>
        </p:spPr>
        <p:txBody>
          <a:bodyPr lIns="182880" tIns="146304" rIns="182880" bIns="146304"/>
          <a:lstStyle>
            <a:lvl1pPr marL="0" indent="0">
              <a:buNone/>
              <a:defRPr sz="5293"/>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p:nvSpPr>
        <p:spPr>
          <a:xfrm>
            <a:off x="202095" y="3378027"/>
            <a:ext cx="5661415" cy="1037426"/>
          </a:xfrm>
          <a:prstGeom prst="rect">
            <a:avLst/>
          </a:prstGeom>
          <a:noFill/>
        </p:spPr>
        <p:txBody>
          <a:bodyPr wrap="square" lIns="179259" tIns="143407" rIns="179259" bIns="143407" rtlCol="0">
            <a:spAutoFit/>
          </a:bodyPr>
          <a:lstStyle/>
          <a:p>
            <a:pPr algn="r">
              <a:lnSpc>
                <a:spcPct val="90000"/>
              </a:lnSpc>
              <a:spcAft>
                <a:spcPts val="588"/>
              </a:spcAft>
            </a:pPr>
            <a:r>
              <a:rPr lang="en-US" sz="5293">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8"/>
            <a:ext cx="6274974" cy="1761636"/>
          </a:xfrm>
        </p:spPr>
        <p:txBody>
          <a:bodyPr lIns="182880" tIns="146304" rIns="182880" bIns="146304"/>
          <a:lstStyle>
            <a:lvl1pPr marL="0" indent="0">
              <a:buNone/>
              <a:defRPr sz="5293"/>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312563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grpSp>
        <p:nvGrpSpPr>
          <p:cNvPr id="12" name="Group 11"/>
          <p:cNvGrpSpPr/>
          <p:nvPr/>
        </p:nvGrpSpPr>
        <p:grpSpPr>
          <a:xfrm>
            <a:off x="6857009" y="5999453"/>
            <a:ext cx="5216493" cy="627864"/>
            <a:chOff x="274638" y="4554931"/>
            <a:chExt cx="5321094" cy="640363"/>
          </a:xfrm>
        </p:grpSpPr>
        <p:sp>
          <p:nvSpPr>
            <p:cNvPr id="7" name="TextBox 6"/>
            <p:cNvSpPr txBox="1"/>
            <p:nvPr/>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p:nvSpPr>
        <p:spPr>
          <a:xfrm>
            <a:off x="221373" y="1834504"/>
            <a:ext cx="8020194"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p:nvSpPr>
        <p:spPr>
          <a:xfrm>
            <a:off x="4927288" y="259969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p:nvSpPr>
        <p:spPr>
          <a:xfrm>
            <a:off x="4927288" y="3378027"/>
            <a:ext cx="5661415" cy="1037426"/>
          </a:xfrm>
          <a:prstGeom prst="rect">
            <a:avLst/>
          </a:prstGeom>
          <a:noFill/>
        </p:spPr>
        <p:txBody>
          <a:bodyPr wrap="square" lIns="179259" tIns="143407" rIns="179259" bIns="143407" rtlCol="0">
            <a:spAutoFit/>
          </a:bodyPr>
          <a:lstStyle/>
          <a:p>
            <a:pPr algn="l">
              <a:lnSpc>
                <a:spcPct val="90000"/>
              </a:lnSpc>
              <a:spcAft>
                <a:spcPts val="588"/>
              </a:spcAft>
            </a:pPr>
            <a:r>
              <a:rPr lang="en-US" sz="5293">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p:nvSpPr>
        <p:spPr>
          <a:xfrm>
            <a:off x="4927288" y="4143220"/>
            <a:ext cx="6419371" cy="1037426"/>
          </a:xfrm>
          <a:prstGeom prst="rect">
            <a:avLst/>
          </a:prstGeom>
          <a:noFill/>
        </p:spPr>
        <p:txBody>
          <a:bodyPr wrap="none" lIns="179259" tIns="143407" rIns="179259" bIns="143407" rtlCol="0">
            <a:spAutoFit/>
          </a:bodyPr>
          <a:lstStyle/>
          <a:p>
            <a:pPr>
              <a:lnSpc>
                <a:spcPct val="90000"/>
              </a:lnSpc>
              <a:spcAft>
                <a:spcPts val="588"/>
              </a:spcAft>
            </a:pPr>
            <a:r>
              <a:rPr lang="en-US" sz="5293">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666874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4800"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2800" spc="0" baseline="0">
                <a:solidFill>
                  <a:schemeClr val="bg1"/>
                </a:soli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44765"/>
          </a:xfrm>
        </p:spPr>
        <p:txBody>
          <a:bodyPr lIns="182880" tIns="146304" rIns="182880" bIns="146304"/>
          <a:lstStyle>
            <a:lvl1pPr marL="0" indent="0" algn="r">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6019331"/>
            <a:ext cx="3585699" cy="544765"/>
          </a:xfrm>
        </p:spPr>
        <p:txBody>
          <a:bodyPr lIns="182880" tIns="146304" rIns="182880" bIns="146304" anchor="b"/>
          <a:lstStyle>
            <a:lvl1pPr marL="0" indent="0" algn="l">
              <a:buNone/>
              <a:defRPr sz="1800">
                <a:solidFill>
                  <a:schemeClr val="bg1"/>
                </a:solidFill>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pic>
        <p:nvPicPr>
          <p:cNvPr id="10" name="Picture 9">
            <a:extLst>
              <a:ext uri="{FF2B5EF4-FFF2-40B4-BE49-F238E27FC236}">
                <a16:creationId xmlns:a16="http://schemas.microsoft.com/office/drawing/2014/main" id="{21192D5F-1038-4F8E-88F2-D315D8D030F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1632" y="468770"/>
            <a:ext cx="1390452" cy="306125"/>
          </a:xfrm>
          <a:prstGeom prst="rect">
            <a:avLst/>
          </a:prstGeom>
        </p:spPr>
      </p:pic>
    </p:spTree>
    <p:extLst>
      <p:ext uri="{BB962C8B-B14F-4D97-AF65-F5344CB8AC3E}">
        <p14:creationId xmlns:p14="http://schemas.microsoft.com/office/powerpoint/2010/main" val="1145959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_Title Slide">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512272B-6700-43D8-91D2-E2B214118AE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78DFD15D-688B-493A-A79A-E8A5090CDBC8}"/>
              </a:ext>
            </a:extLst>
          </p:cNvPr>
          <p:cNvSpPr/>
          <p:nvPr/>
        </p:nvSpPr>
        <p:spPr bwMode="auto">
          <a:xfrm>
            <a:off x="1" y="2702560"/>
            <a:ext cx="6126480" cy="3616960"/>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702599"/>
            <a:ext cx="3585699" cy="567015"/>
          </a:xfrm>
        </p:spPr>
        <p:txBody>
          <a:bodyPr lIns="182880" tIns="146304" rIns="182880" bIns="146304" anchor="ctr"/>
          <a:lstStyle>
            <a:lvl1pPr marL="0" indent="0" algn="l">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Yammer hashtag</a:t>
            </a:r>
          </a:p>
        </p:txBody>
      </p:sp>
    </p:spTree>
    <p:extLst>
      <p:ext uri="{BB962C8B-B14F-4D97-AF65-F5344CB8AC3E}">
        <p14:creationId xmlns:p14="http://schemas.microsoft.com/office/powerpoint/2010/main" val="7462337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4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3140711"/>
            <a:ext cx="4797997"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5033798"/>
            <a:ext cx="4797999"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1759346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3" name="Picture 2" descr="A person sitting in a room&#10;&#10;Description generated with very high confidence">
            <a:extLst>
              <a:ext uri="{FF2B5EF4-FFF2-40B4-BE49-F238E27FC236}">
                <a16:creationId xmlns:a16="http://schemas.microsoft.com/office/drawing/2014/main" id="{E23B8A7C-DB17-4C7E-AF2D-D21ECBB0D03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85DB54E2-5BBA-49E9-9AE0-587E809F4D91}"/>
              </a:ext>
            </a:extLst>
          </p:cNvPr>
          <p:cNvSpPr/>
          <p:nvPr/>
        </p:nvSpPr>
        <p:spPr bwMode="auto">
          <a:xfrm>
            <a:off x="1" y="2702561"/>
            <a:ext cx="6126480" cy="300061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3" y="2702560"/>
            <a:ext cx="5735258" cy="1838959"/>
          </a:xfrm>
          <a:noFill/>
        </p:spPr>
        <p:txBody>
          <a:bodyPr lIns="146304" tIns="91440" rIns="146304" bIns="91440" anchor="b" anchorCtr="0"/>
          <a:lstStyle>
            <a:lvl1pPr>
              <a:defRPr sz="4800"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595649"/>
            <a:ext cx="5735260" cy="1075252"/>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Text Placeholder 16"/>
          <p:cNvSpPr>
            <a:spLocks noGrp="1"/>
          </p:cNvSpPr>
          <p:nvPr>
            <p:ph type="body" sz="quarter" idx="13" hasCustomPrompt="1"/>
          </p:nvPr>
        </p:nvSpPr>
        <p:spPr>
          <a:xfrm>
            <a:off x="8339677" y="288561"/>
            <a:ext cx="3585699" cy="567015"/>
          </a:xfrm>
        </p:spPr>
        <p:txBody>
          <a:bodyPr lIns="182880" tIns="146304" rIns="182880" bIns="146304"/>
          <a:lstStyle>
            <a:lvl1pPr marL="0" indent="0" algn="r">
              <a:buNone/>
              <a:defRPr sz="1961">
                <a:latin typeface="+mn-lt"/>
              </a:defRPr>
            </a:lvl1pPr>
            <a:lvl2pPr marL="336080" indent="0">
              <a:buNone/>
              <a:defRPr sz="1961"/>
            </a:lvl2pPr>
            <a:lvl3pPr marL="560134" indent="0">
              <a:buNone/>
              <a:defRPr sz="1961"/>
            </a:lvl3pPr>
            <a:lvl4pPr marL="784187" indent="0">
              <a:buNone/>
              <a:defRPr sz="1961"/>
            </a:lvl4pPr>
            <a:lvl5pPr marL="1008241" indent="0">
              <a:buNone/>
              <a:defRPr sz="1961"/>
            </a:lvl5pPr>
          </a:lstStyle>
          <a:p>
            <a:pPr lvl="0"/>
            <a:r>
              <a:rPr lang="en-US" dirty="0"/>
              <a:t>Session Code</a:t>
            </a:r>
          </a:p>
        </p:txBody>
      </p:sp>
      <p:pic>
        <p:nvPicPr>
          <p:cNvPr id="14" name="Picture 13">
            <a:extLst>
              <a:ext uri="{FF2B5EF4-FFF2-40B4-BE49-F238E27FC236}">
                <a16:creationId xmlns:a16="http://schemas.microsoft.com/office/drawing/2014/main" id="{F194B800-7BDE-45B5-AAE6-3FA1ECE2B9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1633" y="470067"/>
            <a:ext cx="1423303" cy="304977"/>
          </a:xfrm>
          <a:prstGeom prst="rect">
            <a:avLst/>
          </a:prstGeom>
        </p:spPr>
      </p:pic>
    </p:spTree>
    <p:extLst>
      <p:ext uri="{BB962C8B-B14F-4D97-AF65-F5344CB8AC3E}">
        <p14:creationId xmlns:p14="http://schemas.microsoft.com/office/powerpoint/2010/main" val="1381618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11655078" cy="1792927"/>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2" descr="A square divided into four sub-squares, colored red, green, yellow and blue (clockwise), with the company name appearing to its right.">
            <a:extLst>
              <a:ext uri="{FF2B5EF4-FFF2-40B4-BE49-F238E27FC236}">
                <a16:creationId xmlns:a16="http://schemas.microsoft.com/office/drawing/2014/main" id="{D9680F79-B0AA-437A-BC20-62EA7531343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057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4" y="1187645"/>
            <a:ext cx="11655078" cy="179292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2" descr="A square divided into four sub-squares, colored red, green, yellow and blue (clockwise), with the company name appearing to its right.">
            <a:extLst>
              <a:ext uri="{FF2B5EF4-FFF2-40B4-BE49-F238E27FC236}">
                <a16:creationId xmlns:a16="http://schemas.microsoft.com/office/drawing/2014/main" id="{69F9565B-2FA2-4E22-AF78-46EB427BB5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85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Segoe UI" panose="020B0502040204020203" pitchFamily="34" charset="0"/>
                <a:cs typeface="Segoe UI" panose="020B0502040204020203" pitchFamily="34" charset="0"/>
              </a:defRPr>
            </a:lvl1pPr>
            <a:lvl2pPr marL="250505" indent="0">
              <a:buFont typeface="Wingdings" panose="05000000000000000000" pitchFamily="2" charset="2"/>
              <a:buNone/>
              <a:defRPr sz="2353" b="0">
                <a:latin typeface="Segoe UI" panose="020B0502040204020203" pitchFamily="34" charset="0"/>
                <a:cs typeface="Segoe UI" panose="020B0502040204020203" pitchFamily="34" charset="0"/>
              </a:defRPr>
            </a:lvl2pPr>
            <a:lvl3pPr marL="441883" indent="0">
              <a:buFont typeface="Wingdings" panose="05000000000000000000" pitchFamily="2" charset="2"/>
              <a:buNone/>
              <a:tabLst/>
              <a:defRPr sz="2157" b="0">
                <a:latin typeface="Segoe UI" panose="020B0502040204020203" pitchFamily="34" charset="0"/>
                <a:cs typeface="Segoe UI" panose="020B0502040204020203" pitchFamily="34" charset="0"/>
              </a:defRPr>
            </a:lvl3pPr>
            <a:lvl4pPr marL="639485" indent="0">
              <a:buFont typeface="Wingdings" panose="05000000000000000000" pitchFamily="2" charset="2"/>
              <a:buNone/>
              <a:defRPr sz="2157" b="0">
                <a:latin typeface="Segoe UI" panose="020B0502040204020203" pitchFamily="34" charset="0"/>
                <a:cs typeface="Segoe UI" panose="020B0502040204020203" pitchFamily="34" charset="0"/>
              </a:defRPr>
            </a:lvl4pPr>
            <a:lvl5pPr marL="837089" indent="0">
              <a:buFont typeface="Wingdings" panose="05000000000000000000" pitchFamily="2" charset="2"/>
              <a:buNone/>
              <a:tabLst/>
              <a:defRPr sz="2157" b="0">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dirty="0"/>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dirty="0"/>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dirty="0"/>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dirty="0"/>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dirty="0"/>
              <a:t>Fifth level</a:t>
            </a:r>
          </a:p>
        </p:txBody>
      </p:sp>
      <p:sp>
        <p:nvSpPr>
          <p:cNvPr id="3" name="Title 2">
            <a:extLst>
              <a:ext uri="{FF2B5EF4-FFF2-40B4-BE49-F238E27FC236}">
                <a16:creationId xmlns:a16="http://schemas.microsoft.com/office/drawing/2014/main" id="{6A6B9AEE-CB61-4AB7-B3AD-F4BBE0294162}"/>
              </a:ext>
            </a:extLst>
          </p:cNvPr>
          <p:cNvSpPr>
            <a:spLocks noGrp="1"/>
          </p:cNvSpPr>
          <p:nvPr>
            <p:ph type="title"/>
          </p:nvPr>
        </p:nvSpPr>
        <p:spPr/>
        <p:txBody>
          <a:bodyPr/>
          <a:lstStyle/>
          <a:p>
            <a:r>
              <a:rPr lang="en-US"/>
              <a:t>Click to edit Master title style</a:t>
            </a:r>
          </a:p>
        </p:txBody>
      </p:sp>
      <p:pic>
        <p:nvPicPr>
          <p:cNvPr id="6" name="Picture 2" descr="A square divided into four sub-squares, colored red, green, yellow and blue (clockwise), with the company name appearing to its right.">
            <a:extLst>
              <a:ext uri="{FF2B5EF4-FFF2-40B4-BE49-F238E27FC236}">
                <a16:creationId xmlns:a16="http://schemas.microsoft.com/office/drawing/2014/main" id="{5241DC46-E851-40D2-A436-281D041BD5A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6911" y="6496322"/>
            <a:ext cx="1181266" cy="252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40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image" Target="../media/image7.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theme" Target="../theme/theme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heme" Target="../theme/theme4.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image" Target="../media/image7.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image" Target="../media/image7.emf"/><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theme" Target="../theme/theme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74A4C2-B073-4555-B8B6-0D9063EEAE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22E21A-2FBB-4C44-B268-B025503E11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EF32A8-1CC9-430C-AF9F-57FB4D4C6A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4DE817-85B7-4E3B-A753-E2244587DA06}" type="datetimeFigureOut">
              <a:rPr lang="en-US" smtClean="0"/>
              <a:t>9/18/2020</a:t>
            </a:fld>
            <a:endParaRPr lang="en-US"/>
          </a:p>
        </p:txBody>
      </p:sp>
      <p:sp>
        <p:nvSpPr>
          <p:cNvPr id="5" name="Footer Placeholder 4">
            <a:extLst>
              <a:ext uri="{FF2B5EF4-FFF2-40B4-BE49-F238E27FC236}">
                <a16:creationId xmlns:a16="http://schemas.microsoft.com/office/drawing/2014/main" id="{8812410C-9F68-4459-AFAC-BFF596A0A8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555FB8A-594B-41DB-B32D-33ACA0A45E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464736-8B66-489A-8CC8-55AA222BCBF7}" type="slidenum">
              <a:rPr lang="en-US" smtClean="0"/>
              <a:t>‹#›</a:t>
            </a:fld>
            <a:endParaRPr lang="en-US"/>
          </a:p>
        </p:txBody>
      </p:sp>
    </p:spTree>
    <p:extLst>
      <p:ext uri="{BB962C8B-B14F-4D97-AF65-F5344CB8AC3E}">
        <p14:creationId xmlns:p14="http://schemas.microsoft.com/office/powerpoint/2010/main" val="20105906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0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rgbClr val="808080"/>
                </a:solidFill>
              </a:defRPr>
            </a:lvl1pPr>
          </a:lstStyle>
          <a:p>
            <a:fld id="{A34B8C21-472C-43AD-8B9F-5964D09AB204}" type="slidenum">
              <a:rPr lang="en-IN" smtClean="0"/>
              <a:pPr/>
              <a:t>‹#›</a:t>
            </a:fld>
            <a:endParaRPr lang="en-IN"/>
          </a:p>
        </p:txBody>
      </p:sp>
    </p:spTree>
    <p:extLst>
      <p:ext uri="{BB962C8B-B14F-4D97-AF65-F5344CB8AC3E}">
        <p14:creationId xmlns:p14="http://schemas.microsoft.com/office/powerpoint/2010/main" val="669373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Lst>
  <p:transition>
    <p:fade/>
  </p:transition>
  <p:hf hdr="0"/>
  <p:txStyles>
    <p:titleStyle>
      <a:lvl1pPr algn="l" defTabSz="914005"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557739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8883115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Lst>
  <p:transition>
    <p:fade/>
  </p:transition>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185588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pic>
        <p:nvPicPr>
          <p:cNvPr id="6" name="Picture 5">
            <a:extLst>
              <a:ext uri="{FF2B5EF4-FFF2-40B4-BE49-F238E27FC236}">
                <a16:creationId xmlns:a16="http://schemas.microsoft.com/office/drawing/2014/main" id="{CAE7C2F3-3E52-4E81-B71D-701517C447E5}"/>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7693550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Lst>
  <p:transition>
    <p:fade/>
  </p:transition>
  <p:txStyles>
    <p:titleStyle>
      <a:lvl1pPr algn="l" defTabSz="914192" rtl="0" eaLnBrk="1" latinLnBrk="0" hangingPunct="1">
        <a:lnSpc>
          <a:spcPct val="90000"/>
        </a:lnSpc>
        <a:spcBef>
          <a:spcPct val="0"/>
        </a:spcBef>
        <a:buNone/>
        <a:defRPr lang="en-US" sz="3921" b="0" strike="noStrike" kern="1200" cap="none" spc="-100" baseline="0" dirty="0" smtClean="0">
          <a:ln w="3175">
            <a:noFill/>
          </a:ln>
          <a:solidFill>
            <a:schemeClr val="tx1"/>
          </a:soli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panose="020B0502040204020203" pitchFamily="34" charset="0"/>
          <a:ea typeface="+mn-ea"/>
          <a:cs typeface="Segoe UI" panose="020B05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3">
          <p15:clr>
            <a:srgbClr val="C35EA4"/>
          </p15:clr>
        </p15:guide>
        <p15:guide id="17" pos="754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26.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7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7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73.xml"/><Relationship Id="rId6" Type="http://schemas.openxmlformats.org/officeDocument/2006/relationships/diagramColors" Target="../diagrams/colors1.xml"/><Relationship Id="rId11" Type="http://schemas.openxmlformats.org/officeDocument/2006/relationships/image" Target="../media/image31.png"/><Relationship Id="rId5" Type="http://schemas.openxmlformats.org/officeDocument/2006/relationships/diagramQuickStyle" Target="../diagrams/quickStyle1.xml"/><Relationship Id="rId10" Type="http://schemas.openxmlformats.org/officeDocument/2006/relationships/image" Target="../media/image30.png"/><Relationship Id="rId4" Type="http://schemas.openxmlformats.org/officeDocument/2006/relationships/diagramLayout" Target="../diagrams/layout1.xml"/><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73.xml"/><Relationship Id="rId6" Type="http://schemas.openxmlformats.org/officeDocument/2006/relationships/diagramColors" Target="../diagrams/colors2.xml"/><Relationship Id="rId11" Type="http://schemas.openxmlformats.org/officeDocument/2006/relationships/image" Target="../media/image36.png"/><Relationship Id="rId5" Type="http://schemas.openxmlformats.org/officeDocument/2006/relationships/diagramQuickStyle" Target="../diagrams/quickStyle2.xml"/><Relationship Id="rId10" Type="http://schemas.openxmlformats.org/officeDocument/2006/relationships/image" Target="../media/image35.png"/><Relationship Id="rId4" Type="http://schemas.openxmlformats.org/officeDocument/2006/relationships/diagramLayout" Target="../diagrams/layout2.xml"/><Relationship Id="rId9" Type="http://schemas.openxmlformats.org/officeDocument/2006/relationships/image" Target="../media/image3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Building a Blockchain App - Process Flow</a:t>
            </a:r>
          </a:p>
        </p:txBody>
      </p:sp>
      <p:sp>
        <p:nvSpPr>
          <p:cNvPr id="11" name="TextBox 10"/>
          <p:cNvSpPr txBox="1"/>
          <p:nvPr/>
        </p:nvSpPr>
        <p:spPr>
          <a:xfrm>
            <a:off x="466542" y="2398509"/>
            <a:ext cx="2203488"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1 |</a:t>
            </a:r>
            <a:r>
              <a:rPr lang="en-US" sz="1600" dirty="0">
                <a:gradFill>
                  <a:gsLst>
                    <a:gs pos="2917">
                      <a:srgbClr val="505050"/>
                    </a:gs>
                    <a:gs pos="30000">
                      <a:srgbClr val="505050"/>
                    </a:gs>
                  </a:gsLst>
                  <a:lin ang="5400000" scaled="0"/>
                </a:gradFill>
              </a:rPr>
              <a:t> Create Story</a:t>
            </a:r>
          </a:p>
        </p:txBody>
      </p:sp>
      <p:sp>
        <p:nvSpPr>
          <p:cNvPr id="17" name="TextBox 16"/>
          <p:cNvSpPr txBox="1"/>
          <p:nvPr/>
        </p:nvSpPr>
        <p:spPr>
          <a:xfrm>
            <a:off x="241197" y="5769149"/>
            <a:ext cx="265072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2 |</a:t>
            </a:r>
            <a:r>
              <a:rPr lang="en-US" sz="1600" dirty="0">
                <a:gradFill>
                  <a:gsLst>
                    <a:gs pos="2917">
                      <a:srgbClr val="505050"/>
                    </a:gs>
                    <a:gs pos="30000">
                      <a:srgbClr val="505050"/>
                    </a:gs>
                  </a:gsLst>
                  <a:lin ang="5400000" scaled="0"/>
                </a:gradFill>
              </a:rPr>
              <a:t> Define App Roles</a:t>
            </a:r>
            <a:endParaRPr lang="en-US" sz="2000" dirty="0">
              <a:gradFill>
                <a:gsLst>
                  <a:gs pos="2917">
                    <a:srgbClr val="505050"/>
                  </a:gs>
                  <a:gs pos="30000">
                    <a:srgbClr val="505050"/>
                  </a:gs>
                </a:gsLst>
                <a:lin ang="5400000" scaled="0"/>
              </a:gradFill>
            </a:endParaRPr>
          </a:p>
        </p:txBody>
      </p:sp>
      <p:sp>
        <p:nvSpPr>
          <p:cNvPr id="20" name="TextBox 19"/>
          <p:cNvSpPr txBox="1"/>
          <p:nvPr/>
        </p:nvSpPr>
        <p:spPr>
          <a:xfrm>
            <a:off x="3373145" y="5628606"/>
            <a:ext cx="2394211" cy="815608"/>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3 |</a:t>
            </a:r>
            <a:r>
              <a:rPr lang="en-US" sz="1600" dirty="0">
                <a:gradFill>
                  <a:gsLst>
                    <a:gs pos="2917">
                      <a:srgbClr val="505050"/>
                    </a:gs>
                    <a:gs pos="30000">
                      <a:srgbClr val="505050"/>
                    </a:gs>
                  </a:gsLst>
                  <a:lin ang="5400000" scaled="0"/>
                </a:gradFill>
              </a:rPr>
              <a:t> Define Smart </a:t>
            </a:r>
          </a:p>
          <a:p>
            <a:pPr>
              <a:lnSpc>
                <a:spcPct val="90000"/>
              </a:lnSpc>
              <a:spcAft>
                <a:spcPts val="600"/>
              </a:spcAft>
            </a:pPr>
            <a:r>
              <a:rPr lang="en-US" sz="1600" dirty="0">
                <a:gradFill>
                  <a:gsLst>
                    <a:gs pos="2917">
                      <a:srgbClr val="505050"/>
                    </a:gs>
                    <a:gs pos="30000">
                      <a:srgbClr val="505050"/>
                    </a:gs>
                  </a:gsLst>
                  <a:lin ang="5400000" scaled="0"/>
                </a:gradFill>
              </a:rPr>
              <a:t>Contract States</a:t>
            </a:r>
            <a:endParaRPr lang="en-US" sz="2000" dirty="0">
              <a:gradFill>
                <a:gsLst>
                  <a:gs pos="2917">
                    <a:srgbClr val="505050"/>
                  </a:gs>
                  <a:gs pos="30000">
                    <a:srgbClr val="505050"/>
                  </a:gs>
                </a:gsLst>
                <a:lin ang="5400000" scaled="0"/>
              </a:gradFill>
            </a:endParaRPr>
          </a:p>
        </p:txBody>
      </p:sp>
      <p:sp>
        <p:nvSpPr>
          <p:cNvPr id="22" name="TextBox 21"/>
          <p:cNvSpPr txBox="1"/>
          <p:nvPr/>
        </p:nvSpPr>
        <p:spPr>
          <a:xfrm>
            <a:off x="3333116" y="2471916"/>
            <a:ext cx="2474267"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4 |</a:t>
            </a:r>
            <a:r>
              <a:rPr lang="en-US" sz="1600" dirty="0">
                <a:gradFill>
                  <a:gsLst>
                    <a:gs pos="2917">
                      <a:srgbClr val="505050"/>
                    </a:gs>
                    <a:gs pos="30000">
                      <a:srgbClr val="505050"/>
                    </a:gs>
                  </a:gsLst>
                  <a:lin ang="5400000" scaled="0"/>
                </a:gradFill>
              </a:rPr>
              <a:t> Draft Workflow</a:t>
            </a:r>
            <a:endParaRPr lang="en-US" sz="2000" dirty="0">
              <a:gradFill>
                <a:gsLst>
                  <a:gs pos="2917">
                    <a:srgbClr val="505050"/>
                  </a:gs>
                  <a:gs pos="30000">
                    <a:srgbClr val="505050"/>
                  </a:gs>
                </a:gsLst>
                <a:lin ang="5400000" scaled="0"/>
              </a:gradFill>
            </a:endParaRPr>
          </a:p>
        </p:txBody>
      </p:sp>
      <p:sp>
        <p:nvSpPr>
          <p:cNvPr id="26" name="Right Arrow 25"/>
          <p:cNvSpPr/>
          <p:nvPr/>
        </p:nvSpPr>
        <p:spPr bwMode="auto">
          <a:xfrm flipV="1">
            <a:off x="8984396" y="4975332"/>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ight Arrow 27"/>
          <p:cNvSpPr/>
          <p:nvPr/>
        </p:nvSpPr>
        <p:spPr bwMode="auto">
          <a:xfrm rot="16200000" flipV="1">
            <a:off x="4460328" y="3228034"/>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ight Arrow 29"/>
          <p:cNvSpPr/>
          <p:nvPr/>
        </p:nvSpPr>
        <p:spPr bwMode="auto">
          <a:xfrm>
            <a:off x="5635825" y="1308042"/>
            <a:ext cx="478486"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6017283" y="2446235"/>
            <a:ext cx="2949697"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5 |</a:t>
            </a:r>
            <a:r>
              <a:rPr lang="en-US" sz="1600" dirty="0">
                <a:gradFill>
                  <a:gsLst>
                    <a:gs pos="2917">
                      <a:srgbClr val="505050"/>
                    </a:gs>
                    <a:gs pos="30000">
                      <a:srgbClr val="505050"/>
                    </a:gs>
                  </a:gsLst>
                  <a:lin ang="5400000" scaled="0"/>
                </a:gradFill>
              </a:rPr>
              <a:t> Specify On-Chain Data</a:t>
            </a:r>
            <a:endParaRPr lang="en-US" sz="2000" dirty="0">
              <a:gradFill>
                <a:gsLst>
                  <a:gs pos="2917">
                    <a:srgbClr val="505050"/>
                  </a:gs>
                  <a:gs pos="30000">
                    <a:srgbClr val="505050"/>
                  </a:gs>
                </a:gsLst>
                <a:lin ang="5400000" scaled="0"/>
              </a:gradFill>
            </a:endParaRPr>
          </a:p>
        </p:txBody>
      </p:sp>
      <p:sp>
        <p:nvSpPr>
          <p:cNvPr id="35" name="TextBox 34"/>
          <p:cNvSpPr txBox="1"/>
          <p:nvPr/>
        </p:nvSpPr>
        <p:spPr>
          <a:xfrm>
            <a:off x="9659590" y="6037650"/>
            <a:ext cx="2222211"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7 |</a:t>
            </a:r>
            <a:r>
              <a:rPr lang="en-US" sz="1600" dirty="0">
                <a:gradFill>
                  <a:gsLst>
                    <a:gs pos="2917">
                      <a:srgbClr val="505050"/>
                    </a:gs>
                    <a:gs pos="30000">
                      <a:srgbClr val="505050"/>
                    </a:gs>
                  </a:gsLst>
                  <a:lin ang="5400000" scaled="0"/>
                </a:gradFill>
              </a:rPr>
              <a:t> Code Config</a:t>
            </a:r>
            <a:endParaRPr lang="en-US" sz="2000" dirty="0">
              <a:gradFill>
                <a:gsLst>
                  <a:gs pos="2917">
                    <a:srgbClr val="505050"/>
                  </a:gs>
                  <a:gs pos="30000">
                    <a:srgbClr val="505050"/>
                  </a:gs>
                </a:gsLst>
                <a:lin ang="5400000" scaled="0"/>
              </a:gradFill>
            </a:endParaRPr>
          </a:p>
        </p:txBody>
      </p:sp>
      <p:sp>
        <p:nvSpPr>
          <p:cNvPr id="39" name="TextBox 38"/>
          <p:cNvSpPr txBox="1"/>
          <p:nvPr/>
        </p:nvSpPr>
        <p:spPr>
          <a:xfrm>
            <a:off x="9437112" y="1741372"/>
            <a:ext cx="2715491"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9 |</a:t>
            </a:r>
            <a:r>
              <a:rPr lang="en-US" sz="1600" dirty="0">
                <a:gradFill>
                  <a:gsLst>
                    <a:gs pos="2917">
                      <a:srgbClr val="505050"/>
                    </a:gs>
                    <a:gs pos="30000">
                      <a:srgbClr val="505050"/>
                    </a:gs>
                  </a:gsLst>
                  <a:lin ang="5400000" scaled="0"/>
                </a:gradFill>
              </a:rPr>
              <a:t> Add Users and Test</a:t>
            </a:r>
            <a:endParaRPr lang="en-US" sz="2000" dirty="0">
              <a:gradFill>
                <a:gsLst>
                  <a:gs pos="2917">
                    <a:srgbClr val="505050"/>
                  </a:gs>
                  <a:gs pos="30000">
                    <a:srgbClr val="505050"/>
                  </a:gs>
                </a:gsLst>
                <a:lin ang="5400000" scaled="0"/>
              </a:gradFill>
            </a:endParaRPr>
          </a:p>
        </p:txBody>
      </p:sp>
      <p:pic>
        <p:nvPicPr>
          <p:cNvPr id="51" name="Picture 50">
            <a:extLst>
              <a:ext uri="{FF2B5EF4-FFF2-40B4-BE49-F238E27FC236}">
                <a16:creationId xmlns:a16="http://schemas.microsoft.com/office/drawing/2014/main" id="{959376E9-903F-EE4E-8AAC-E96C88EA0B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197" y="1189660"/>
            <a:ext cx="2583694" cy="881496"/>
          </a:xfrm>
          <a:prstGeom prst="rect">
            <a:avLst/>
          </a:prstGeom>
        </p:spPr>
      </p:pic>
      <p:pic>
        <p:nvPicPr>
          <p:cNvPr id="52" name="Picture 51">
            <a:extLst>
              <a:ext uri="{FF2B5EF4-FFF2-40B4-BE49-F238E27FC236}">
                <a16:creationId xmlns:a16="http://schemas.microsoft.com/office/drawing/2014/main" id="{E2B25891-2EEA-AE41-BED7-261F21CECD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998" y="4786845"/>
            <a:ext cx="2286220" cy="840492"/>
          </a:xfrm>
          <a:prstGeom prst="rect">
            <a:avLst/>
          </a:prstGeom>
        </p:spPr>
      </p:pic>
      <p:pic>
        <p:nvPicPr>
          <p:cNvPr id="54" name="Picture 53">
            <a:extLst>
              <a:ext uri="{FF2B5EF4-FFF2-40B4-BE49-F238E27FC236}">
                <a16:creationId xmlns:a16="http://schemas.microsoft.com/office/drawing/2014/main" id="{254D90E0-703E-4941-9DC1-CCD920E2DC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4202" y="4765944"/>
            <a:ext cx="2599625" cy="784014"/>
          </a:xfrm>
          <a:prstGeom prst="rect">
            <a:avLst/>
          </a:prstGeom>
        </p:spPr>
      </p:pic>
      <p:pic>
        <p:nvPicPr>
          <p:cNvPr id="58" name="Picture 2" descr="Machine generated alternative text:&#10;ELEMETRY OMPLIRNCE STmTe TRANSITIONS &#10;ATI-ICATION ROLES &#10;- XNlTlATlN6 COUNTCR?ARTH C rcp) &#10;- COONT&amp;RPARTY CC?) &#10;- Device C') &#10;- Obe0NeR &#10;- OBSeRvee COB) &#10;F: INGEST &#10;TEL€m€T2--f ( &#10;AIRD &#10;• TRANSITION &#10;ROLE &#10;AR Al-cowe» &#10;-SrÄT€s C OR &#10;AR INT F. &#10;1üNSFER &#10;TRANSIT &#10;• CompG7E &#10;TELEtvETRM ( ) &#10;OUT og &#10;Comp.-ETED &#10;cess ">
            <a:extLst>
              <a:ext uri="{FF2B5EF4-FFF2-40B4-BE49-F238E27FC236}">
                <a16:creationId xmlns:a16="http://schemas.microsoft.com/office/drawing/2014/main" id="{329C5312-0F5E-B942-8F08-40FCDFB156B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3392770" y="980558"/>
            <a:ext cx="2041721" cy="141271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A71134A7-B365-F947-81D8-7FCDB982F0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9682" y="1065508"/>
            <a:ext cx="2019643" cy="967483"/>
          </a:xfrm>
          <a:prstGeom prst="rect">
            <a:avLst/>
          </a:prstGeom>
        </p:spPr>
      </p:pic>
      <p:sp>
        <p:nvSpPr>
          <p:cNvPr id="60" name="Right Arrow 59">
            <a:extLst>
              <a:ext uri="{FF2B5EF4-FFF2-40B4-BE49-F238E27FC236}">
                <a16:creationId xmlns:a16="http://schemas.microsoft.com/office/drawing/2014/main" id="{FF4657F9-90BC-7F48-B383-2922200F03C2}"/>
              </a:ext>
            </a:extLst>
          </p:cNvPr>
          <p:cNvSpPr/>
          <p:nvPr/>
        </p:nvSpPr>
        <p:spPr bwMode="auto">
          <a:xfrm rot="5400000">
            <a:off x="7102210" y="3228034"/>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a:extLst>
              <a:ext uri="{FF2B5EF4-FFF2-40B4-BE49-F238E27FC236}">
                <a16:creationId xmlns:a16="http://schemas.microsoft.com/office/drawing/2014/main" id="{55AF30B5-68DD-834E-95F4-75D4FEDB24EF}"/>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487254" y="4770388"/>
            <a:ext cx="1974218" cy="981022"/>
          </a:xfrm>
          <a:prstGeom prst="rect">
            <a:avLst/>
          </a:prstGeom>
          <a:solidFill>
            <a:srgbClr val="CFD5EA"/>
          </a:solidFill>
        </p:spPr>
      </p:pic>
      <p:sp>
        <p:nvSpPr>
          <p:cNvPr id="62" name="TextBox 61">
            <a:extLst>
              <a:ext uri="{FF2B5EF4-FFF2-40B4-BE49-F238E27FC236}">
                <a16:creationId xmlns:a16="http://schemas.microsoft.com/office/drawing/2014/main" id="{D3BD2FC7-D942-E24E-885D-9754DE73C217}"/>
              </a:ext>
            </a:extLst>
          </p:cNvPr>
          <p:cNvSpPr txBox="1"/>
          <p:nvPr/>
        </p:nvSpPr>
        <p:spPr>
          <a:xfrm>
            <a:off x="6198385" y="5842718"/>
            <a:ext cx="2949697"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solidFill>
                  <a:srgbClr val="002060"/>
                </a:solidFill>
              </a:rPr>
              <a:t>Step 6 |</a:t>
            </a:r>
            <a:r>
              <a:rPr lang="en-US" sz="1600" dirty="0">
                <a:gradFill>
                  <a:gsLst>
                    <a:gs pos="2917">
                      <a:srgbClr val="505050"/>
                    </a:gs>
                    <a:gs pos="30000">
                      <a:srgbClr val="505050"/>
                    </a:gs>
                  </a:gsLst>
                  <a:lin ang="5400000" scaled="0"/>
                </a:gradFill>
              </a:rPr>
              <a:t> Code Smart Contract</a:t>
            </a:r>
            <a:endParaRPr lang="en-US" sz="2000" dirty="0">
              <a:gradFill>
                <a:gsLst>
                  <a:gs pos="2917">
                    <a:srgbClr val="505050"/>
                  </a:gs>
                  <a:gs pos="30000">
                    <a:srgbClr val="505050"/>
                  </a:gs>
                </a:gsLst>
                <a:lin ang="5400000" scaled="0"/>
              </a:gradFill>
            </a:endParaRPr>
          </a:p>
        </p:txBody>
      </p:sp>
      <p:sp>
        <p:nvSpPr>
          <p:cNvPr id="63" name="TextBox 62">
            <a:extLst>
              <a:ext uri="{FF2B5EF4-FFF2-40B4-BE49-F238E27FC236}">
                <a16:creationId xmlns:a16="http://schemas.microsoft.com/office/drawing/2014/main" id="{52E519AC-F7F2-1E48-9A91-8AA69613EEC3}"/>
              </a:ext>
            </a:extLst>
          </p:cNvPr>
          <p:cNvSpPr txBox="1"/>
          <p:nvPr/>
        </p:nvSpPr>
        <p:spPr>
          <a:xfrm>
            <a:off x="9647226" y="3717423"/>
            <a:ext cx="2166106"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002060"/>
                </a:solidFill>
              </a:rPr>
              <a:t>Step 8 |</a:t>
            </a:r>
            <a:r>
              <a:rPr lang="en-US" sz="1600" dirty="0">
                <a:gradFill>
                  <a:gsLst>
                    <a:gs pos="2917">
                      <a:srgbClr val="505050"/>
                    </a:gs>
                    <a:gs pos="30000">
                      <a:srgbClr val="505050"/>
                    </a:gs>
                  </a:gsLst>
                  <a:lin ang="5400000" scaled="0"/>
                </a:gradFill>
              </a:rPr>
              <a:t> Deploy App</a:t>
            </a:r>
            <a:endParaRPr lang="en-US" sz="2000" dirty="0">
              <a:gradFill>
                <a:gsLst>
                  <a:gs pos="2917">
                    <a:srgbClr val="505050"/>
                  </a:gs>
                  <a:gs pos="30000">
                    <a:srgbClr val="505050"/>
                  </a:gs>
                </a:gsLst>
                <a:lin ang="5400000" scaled="0"/>
              </a:gradFill>
            </a:endParaRPr>
          </a:p>
        </p:txBody>
      </p:sp>
      <p:pic>
        <p:nvPicPr>
          <p:cNvPr id="64" name="Picture 63">
            <a:extLst>
              <a:ext uri="{FF2B5EF4-FFF2-40B4-BE49-F238E27FC236}">
                <a16:creationId xmlns:a16="http://schemas.microsoft.com/office/drawing/2014/main" id="{D682314D-F326-3D4F-BAD4-C3230F5A2801}"/>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9711509" y="4786845"/>
            <a:ext cx="2105865" cy="1231661"/>
          </a:xfrm>
          <a:prstGeom prst="rect">
            <a:avLst/>
          </a:prstGeom>
        </p:spPr>
      </p:pic>
      <p:sp>
        <p:nvSpPr>
          <p:cNvPr id="65" name="Right Arrow 64">
            <a:extLst>
              <a:ext uri="{FF2B5EF4-FFF2-40B4-BE49-F238E27FC236}">
                <a16:creationId xmlns:a16="http://schemas.microsoft.com/office/drawing/2014/main" id="{A21DBEDD-0656-1443-8E6C-E1977BC9FE0B}"/>
              </a:ext>
            </a:extLst>
          </p:cNvPr>
          <p:cNvSpPr/>
          <p:nvPr/>
        </p:nvSpPr>
        <p:spPr bwMode="auto">
          <a:xfrm rot="16200000">
            <a:off x="10396281" y="2106995"/>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8" name="Picture 67">
            <a:extLst>
              <a:ext uri="{FF2B5EF4-FFF2-40B4-BE49-F238E27FC236}">
                <a16:creationId xmlns:a16="http://schemas.microsoft.com/office/drawing/2014/main" id="{92349D41-D4FA-7E43-8202-A23A4B7C69CC}"/>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9977344" y="2699210"/>
            <a:ext cx="1303837" cy="1042412"/>
          </a:xfrm>
          <a:prstGeom prst="rect">
            <a:avLst/>
          </a:prstGeom>
        </p:spPr>
      </p:pic>
      <p:sp>
        <p:nvSpPr>
          <p:cNvPr id="69" name="Right Arrow 68">
            <a:extLst>
              <a:ext uri="{FF2B5EF4-FFF2-40B4-BE49-F238E27FC236}">
                <a16:creationId xmlns:a16="http://schemas.microsoft.com/office/drawing/2014/main" id="{D64F1F0C-ADF0-994F-8A8F-E8A37A149828}"/>
              </a:ext>
            </a:extLst>
          </p:cNvPr>
          <p:cNvSpPr/>
          <p:nvPr/>
        </p:nvSpPr>
        <p:spPr bwMode="auto">
          <a:xfrm rot="16200000">
            <a:off x="10541881" y="4042362"/>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0" name="Picture 69">
            <a:extLst>
              <a:ext uri="{FF2B5EF4-FFF2-40B4-BE49-F238E27FC236}">
                <a16:creationId xmlns:a16="http://schemas.microsoft.com/office/drawing/2014/main" id="{30F67630-B630-F149-B67A-11DCC493EAB7}"/>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9743424" y="689582"/>
            <a:ext cx="1633086" cy="1163639"/>
          </a:xfrm>
          <a:prstGeom prst="rect">
            <a:avLst/>
          </a:prstGeom>
        </p:spPr>
      </p:pic>
      <p:sp>
        <p:nvSpPr>
          <p:cNvPr id="42" name="Right Arrow 32">
            <a:extLst>
              <a:ext uri="{FF2B5EF4-FFF2-40B4-BE49-F238E27FC236}">
                <a16:creationId xmlns:a16="http://schemas.microsoft.com/office/drawing/2014/main" id="{183B3B88-527F-4AC2-B817-0D7C1DE2CDB3}"/>
              </a:ext>
            </a:extLst>
          </p:cNvPr>
          <p:cNvSpPr/>
          <p:nvPr/>
        </p:nvSpPr>
        <p:spPr bwMode="auto">
          <a:xfrm rot="5400000">
            <a:off x="1284694" y="3228034"/>
            <a:ext cx="327372" cy="692610"/>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13079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idx="4294967295"/>
          </p:nvPr>
        </p:nvSpPr>
        <p:spPr>
          <a:xfrm>
            <a:off x="0" y="457200"/>
            <a:ext cx="12192000" cy="1662113"/>
          </a:xfrm>
        </p:spPr>
        <p:txBody>
          <a:bodyPr/>
          <a:lstStyle/>
          <a:p>
            <a:r>
              <a:rPr lang="en-US" sz="3600" dirty="0">
                <a:cs typeface="Segoe UI"/>
              </a:rPr>
              <a:t>Basic Provenance - MVP</a:t>
            </a:r>
            <a:endParaRPr lang="en-US" sz="3600" dirty="0"/>
          </a:p>
        </p:txBody>
      </p:sp>
      <p:sp>
        <p:nvSpPr>
          <p:cNvPr id="7" name="TextBox 6">
            <a:extLst>
              <a:ext uri="{FF2B5EF4-FFF2-40B4-BE49-F238E27FC236}">
                <a16:creationId xmlns:a16="http://schemas.microsoft.com/office/drawing/2014/main" id="{953D2544-1348-F24C-8B11-C5569D787AC0}"/>
              </a:ext>
            </a:extLst>
          </p:cNvPr>
          <p:cNvSpPr txBox="1"/>
          <p:nvPr/>
        </p:nvSpPr>
        <p:spPr>
          <a:xfrm>
            <a:off x="783602" y="1746126"/>
            <a:ext cx="10253482" cy="3440942"/>
          </a:xfrm>
          <a:prstGeom prst="rect">
            <a:avLst/>
          </a:prstGeom>
          <a:noFill/>
        </p:spPr>
        <p:txBody>
          <a:bodyPr wrap="square" lIns="182880" tIns="146304" rIns="182880" bIns="146304" rtlCol="0" anchor="t">
            <a:spAutoFit/>
          </a:bodyPr>
          <a:lstStyle/>
          <a:p>
            <a:pPr>
              <a:lnSpc>
                <a:spcPct val="90000"/>
              </a:lnSpc>
              <a:spcAft>
                <a:spcPts val="600"/>
              </a:spcAft>
              <a:defRPr/>
            </a:pPr>
            <a:r>
              <a:rPr lang="en-US" sz="2400" kern="0" dirty="0">
                <a:ea typeface="+mn-lt"/>
                <a:cs typeface="+mn-lt"/>
              </a:rPr>
              <a:t>The Basic Provenance application expresses a workflow for a simple record of ownership or responsibility.  </a:t>
            </a:r>
          </a:p>
          <a:p>
            <a:pPr>
              <a:lnSpc>
                <a:spcPct val="90000"/>
              </a:lnSpc>
              <a:spcAft>
                <a:spcPts val="600"/>
              </a:spcAft>
              <a:defRPr/>
            </a:pPr>
            <a:endParaRPr lang="en-US" sz="2400" kern="0" dirty="0">
              <a:ea typeface="+mn-lt"/>
              <a:cs typeface="+mn-lt"/>
            </a:endParaRPr>
          </a:p>
          <a:p>
            <a:pPr>
              <a:lnSpc>
                <a:spcPct val="90000"/>
              </a:lnSpc>
              <a:spcAft>
                <a:spcPts val="600"/>
              </a:spcAft>
              <a:defRPr/>
            </a:pPr>
            <a:r>
              <a:rPr lang="en-US" sz="2400" kern="0" dirty="0">
                <a:ea typeface="+mn-lt"/>
                <a:cs typeface="+mn-lt"/>
              </a:rPr>
              <a:t>Basic Provenance starts when an owner wants to track ownership or responsibility for an asset.  Whenever a new counterparty takes ownership or responsibility of the asset, the owner transfer responsibility to the counterparty.  The counterparty can transfer the responsibility to another counterparty, or the owner can decide to complete the transfers of responsibility. </a:t>
            </a:r>
            <a:endParaRPr lang="en-US" sz="2400" dirty="0"/>
          </a:p>
        </p:txBody>
      </p:sp>
    </p:spTree>
    <p:extLst>
      <p:ext uri="{BB962C8B-B14F-4D97-AF65-F5344CB8AC3E}">
        <p14:creationId xmlns:p14="http://schemas.microsoft.com/office/powerpoint/2010/main" val="184294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a:cs typeface="Segoe UI"/>
              </a:rPr>
              <a:t>MVP application rol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449063619"/>
              </p:ext>
            </p:extLst>
          </p:nvPr>
        </p:nvGraphicFramePr>
        <p:xfrm>
          <a:off x="737419" y="1427588"/>
          <a:ext cx="10253483" cy="3468876"/>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05861624"/>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136570002"/>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87058528"/>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778680367"/>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171685955"/>
                  </a:ext>
                </a:extLst>
              </a:tr>
            </a:tbl>
          </a:graphicData>
        </a:graphic>
      </p:graphicFrame>
      <p:sp>
        <p:nvSpPr>
          <p:cNvPr id="4" name="TextBox 3">
            <a:extLst>
              <a:ext uri="{FF2B5EF4-FFF2-40B4-BE49-F238E27FC236}">
                <a16:creationId xmlns:a16="http://schemas.microsoft.com/office/drawing/2014/main" id="{A1D9799A-4827-4213-82FD-7C79382281A4}"/>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Identify each role required to complete the smart contract and what that role is required to do</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380350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Enumerate all of your smart contract stat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98770846"/>
              </p:ext>
            </p:extLst>
          </p:nvPr>
        </p:nvGraphicFramePr>
        <p:xfrm>
          <a:off x="737419" y="1427588"/>
          <a:ext cx="10253483" cy="2890730"/>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05861624"/>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136570002"/>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87058528"/>
                  </a:ext>
                </a:extLst>
              </a:tr>
              <a:tr h="578146">
                <a:tc>
                  <a:txBody>
                    <a:bodyPr/>
                    <a:lstStyle/>
                    <a:p>
                      <a:endParaRPr lang="en-US" dirty="0"/>
                    </a:p>
                  </a:txBody>
                  <a:tcPr/>
                </a:tc>
                <a:tc>
                  <a:txBody>
                    <a:bodyPr/>
                    <a:lstStyle/>
                    <a:p>
                      <a:endParaRPr lang="en-US" dirty="0"/>
                    </a:p>
                  </a:txBody>
                  <a:tcPr/>
                </a:tc>
                <a:extLst>
                  <a:ext uri="{0D108BD9-81ED-4DB2-BD59-A6C34878D82A}">
                    <a16:rowId xmlns:a16="http://schemas.microsoft.com/office/drawing/2014/main" val="778680367"/>
                  </a:ext>
                </a:extLst>
              </a:tr>
            </a:tbl>
          </a:graphicData>
        </a:graphic>
      </p:graphicFrame>
      <p:sp>
        <p:nvSpPr>
          <p:cNvPr id="4" name="TextBox 3">
            <a:extLst>
              <a:ext uri="{FF2B5EF4-FFF2-40B4-BE49-F238E27FC236}">
                <a16:creationId xmlns:a16="http://schemas.microsoft.com/office/drawing/2014/main" id="{88A5735A-9B13-40F5-80A4-7D2AB1A58601}"/>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Contract states are immutable, and it's best to think of states that must be persisted vs. process states that are passing</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2468423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a:cs typeface="Segoe UI"/>
              </a:rPr>
              <a:t>MVP functions and parameters</a:t>
            </a:r>
            <a:endParaRPr lang="en-US" sz="3600"/>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2960558310"/>
              </p:ext>
            </p:extLst>
          </p:nvPr>
        </p:nvGraphicFramePr>
        <p:xfrm>
          <a:off x="737419" y="1122792"/>
          <a:ext cx="10253484" cy="3519888"/>
        </p:xfrm>
        <a:graphic>
          <a:graphicData uri="http://schemas.openxmlformats.org/drawingml/2006/table">
            <a:tbl>
              <a:tblPr firstRow="1" bandRow="1">
                <a:tableStyleId>{F5AB1C69-6EDB-4FF4-983F-18BD219EF322}</a:tableStyleId>
              </a:tblPr>
              <a:tblGrid>
                <a:gridCol w="1733128">
                  <a:extLst>
                    <a:ext uri="{9D8B030D-6E8A-4147-A177-3AD203B41FA5}">
                      <a16:colId xmlns:a16="http://schemas.microsoft.com/office/drawing/2014/main" val="1956135441"/>
                    </a:ext>
                  </a:extLst>
                </a:gridCol>
                <a:gridCol w="4260178">
                  <a:extLst>
                    <a:ext uri="{9D8B030D-6E8A-4147-A177-3AD203B41FA5}">
                      <a16:colId xmlns:a16="http://schemas.microsoft.com/office/drawing/2014/main" val="3448598843"/>
                    </a:ext>
                  </a:extLst>
                </a:gridCol>
                <a:gridCol w="4260178">
                  <a:extLst>
                    <a:ext uri="{9D8B030D-6E8A-4147-A177-3AD203B41FA5}">
                      <a16:colId xmlns:a16="http://schemas.microsoft.com/office/drawing/2014/main" val="924185933"/>
                    </a:ext>
                  </a:extLst>
                </a:gridCol>
              </a:tblGrid>
              <a:tr h="578146">
                <a:tc>
                  <a:txBody>
                    <a:bodyPr/>
                    <a:lstStyle/>
                    <a:p>
                      <a:r>
                        <a:rPr lang="en-US" dirty="0"/>
                        <a:t>Application Role</a:t>
                      </a:r>
                    </a:p>
                  </a:txBody>
                  <a:tcPr/>
                </a:tc>
                <a:tc>
                  <a:txBody>
                    <a:bodyPr/>
                    <a:lstStyle/>
                    <a:p>
                      <a:r>
                        <a:rPr lang="en-US" dirty="0"/>
                        <a:t>Available Functions</a:t>
                      </a:r>
                    </a:p>
                  </a:txBody>
                  <a:tcPr/>
                </a:tc>
                <a:tc>
                  <a:txBody>
                    <a:bodyPr/>
                    <a:lstStyle/>
                    <a:p>
                      <a:r>
                        <a:rPr lang="en-US" dirty="0"/>
                        <a:t>Parameters</a:t>
                      </a:r>
                    </a:p>
                  </a:txBody>
                  <a:tcPr/>
                </a:tc>
                <a:extLst>
                  <a:ext uri="{0D108BD9-81ED-4DB2-BD59-A6C34878D82A}">
                    <a16:rowId xmlns:a16="http://schemas.microsoft.com/office/drawing/2014/main" val="1960670011"/>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05861624"/>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136570002"/>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587058528"/>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778680367"/>
                  </a:ext>
                </a:extLst>
              </a:tr>
              <a:tr h="578146">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512822379"/>
                  </a:ext>
                </a:extLst>
              </a:tr>
            </a:tbl>
          </a:graphicData>
        </a:graphic>
      </p:graphicFrame>
      <p:sp>
        <p:nvSpPr>
          <p:cNvPr id="7" name="TextBox 6">
            <a:extLst>
              <a:ext uri="{FF2B5EF4-FFF2-40B4-BE49-F238E27FC236}">
                <a16:creationId xmlns:a16="http://schemas.microsoft.com/office/drawing/2014/main" id="{953D2544-1348-F24C-8B11-C5569D787AC0}"/>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Use the minimum viable set of parameters to store on your distributed ledger</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270808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to write your workflow details as a Solidity Smart Contract</a:t>
            </a:r>
          </a:p>
        </p:txBody>
      </p:sp>
      <p:graphicFrame>
        <p:nvGraphicFramePr>
          <p:cNvPr id="3" name="Diagram 2">
            <a:extLst>
              <a:ext uri="{FF2B5EF4-FFF2-40B4-BE49-F238E27FC236}">
                <a16:creationId xmlns:a16="http://schemas.microsoft.com/office/drawing/2014/main" id="{6EDF83CD-1503-FC4E-BFDE-4E9A34FD3E5C}"/>
              </a:ext>
            </a:extLst>
          </p:cNvPr>
          <p:cNvGraphicFramePr/>
          <p:nvPr>
            <p:extLst>
              <p:ext uri="{D42A27DB-BD31-4B8C-83A1-F6EECF244321}">
                <p14:modId xmlns:p14="http://schemas.microsoft.com/office/powerpoint/2010/main" val="547355616"/>
              </p:ext>
            </p:extLst>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 name="TextBox 53">
            <a:extLst>
              <a:ext uri="{FF2B5EF4-FFF2-40B4-BE49-F238E27FC236}">
                <a16:creationId xmlns:a16="http://schemas.microsoft.com/office/drawing/2014/main" id="{A5B0CE7A-0B71-8447-94BD-5CA73F7D613A}"/>
              </a:ext>
            </a:extLst>
          </p:cNvPr>
          <p:cNvSpPr txBox="1"/>
          <p:nvPr/>
        </p:nvSpPr>
        <p:spPr>
          <a:xfrm>
            <a:off x="134484" y="1038955"/>
            <a:ext cx="11922761"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bench uses both the configuration file and smart contract code file to create a blockchain application. There is a relationship between what is defined in the configuration and the code in the smart contract. </a:t>
            </a:r>
          </a:p>
        </p:txBody>
      </p:sp>
    </p:spTree>
    <p:extLst>
      <p:ext uri="{BB962C8B-B14F-4D97-AF65-F5344CB8AC3E}">
        <p14:creationId xmlns:p14="http://schemas.microsoft.com/office/powerpoint/2010/main" val="225852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your Workbench JSON application configuration file</a:t>
            </a:r>
          </a:p>
        </p:txBody>
      </p:sp>
      <p:graphicFrame>
        <p:nvGraphicFramePr>
          <p:cNvPr id="3" name="Diagram 2">
            <a:extLst>
              <a:ext uri="{FF2B5EF4-FFF2-40B4-BE49-F238E27FC236}">
                <a16:creationId xmlns:a16="http://schemas.microsoft.com/office/drawing/2014/main" id="{6EDF83CD-1503-FC4E-BFDE-4E9A34FD3E5C}"/>
              </a:ext>
            </a:extLst>
          </p:cNvPr>
          <p:cNvGraphicFramePr/>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 name="TextBox 53">
            <a:extLst>
              <a:ext uri="{FF2B5EF4-FFF2-40B4-BE49-F238E27FC236}">
                <a16:creationId xmlns:a16="http://schemas.microsoft.com/office/drawing/2014/main" id="{A5B0CE7A-0B71-8447-94BD-5CA73F7D613A}"/>
              </a:ext>
            </a:extLst>
          </p:cNvPr>
          <p:cNvSpPr txBox="1"/>
          <p:nvPr/>
        </p:nvSpPr>
        <p:spPr>
          <a:xfrm>
            <a:off x="134484" y="1162424"/>
            <a:ext cx="11922761"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reate JSON configuration file that will contain the following application settings</a:t>
            </a:r>
          </a:p>
        </p:txBody>
      </p:sp>
      <p:sp>
        <p:nvSpPr>
          <p:cNvPr id="30" name="TextBox 29">
            <a:extLst>
              <a:ext uri="{FF2B5EF4-FFF2-40B4-BE49-F238E27FC236}">
                <a16:creationId xmlns:a16="http://schemas.microsoft.com/office/drawing/2014/main" id="{9EED75BB-3211-4620-87D9-6B5B725799B4}"/>
              </a:ext>
            </a:extLst>
          </p:cNvPr>
          <p:cNvSpPr txBox="1"/>
          <p:nvPr/>
        </p:nvSpPr>
        <p:spPr>
          <a:xfrm>
            <a:off x="737420" y="6228706"/>
            <a:ext cx="10253482" cy="489365"/>
          </a:xfrm>
          <a:prstGeom prst="rect">
            <a:avLst/>
          </a:prstGeom>
          <a:noFill/>
        </p:spPr>
        <p:txBody>
          <a:bodyPr wrap="square" lIns="182880" tIns="146304" rIns="182880" bIns="146304" rtlCol="0" anchor="t">
            <a:spAutoFit/>
          </a:bodyPr>
          <a:lstStyle/>
          <a:p>
            <a:pPr>
              <a:lnSpc>
                <a:spcPct val="90000"/>
              </a:lnSpc>
              <a:spcAft>
                <a:spcPts val="600"/>
              </a:spcAft>
              <a:defRPr/>
            </a:pPr>
            <a:r>
              <a:rPr lang="en-US" sz="1400" i="1" kern="0" dirty="0">
                <a:solidFill>
                  <a:srgbClr val="505050"/>
                </a:solidFill>
                <a:cs typeface="Segoe UI"/>
              </a:rPr>
              <a:t>HINT: Use an existing JSON file to guide your implementation</a:t>
            </a:r>
            <a:endParaRPr kumimoji="0" lang="en-US" sz="1400" b="0" i="1" u="none" strike="noStrike" kern="0" cap="none" spc="0" normalizeH="0" baseline="0" noProof="0" dirty="0">
              <a:ln>
                <a:noFill/>
              </a:ln>
              <a:solidFill>
                <a:srgbClr val="505050"/>
              </a:solidFill>
              <a:effectLst/>
              <a:uLnTx/>
              <a:uFillTx/>
              <a:latin typeface="Segoe UI"/>
              <a:ea typeface="+mn-ea"/>
              <a:cs typeface="Segoe UI"/>
            </a:endParaRPr>
          </a:p>
        </p:txBody>
      </p:sp>
    </p:spTree>
    <p:extLst>
      <p:ext uri="{BB962C8B-B14F-4D97-AF65-F5344CB8AC3E}">
        <p14:creationId xmlns:p14="http://schemas.microsoft.com/office/powerpoint/2010/main" val="143903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Create your application story </a:t>
            </a:r>
          </a:p>
        </p:txBody>
      </p:sp>
      <p:pic>
        <p:nvPicPr>
          <p:cNvPr id="4" name="Picture 3">
            <a:extLst>
              <a:ext uri="{FF2B5EF4-FFF2-40B4-BE49-F238E27FC236}">
                <a16:creationId xmlns:a16="http://schemas.microsoft.com/office/drawing/2014/main" id="{14C432D1-0951-BB48-B41F-32BF56C63C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0313" y="2542425"/>
            <a:ext cx="6836665" cy="2332509"/>
          </a:xfrm>
          <a:prstGeom prst="rect">
            <a:avLst/>
          </a:prstGeom>
        </p:spPr>
      </p:pic>
      <p:cxnSp>
        <p:nvCxnSpPr>
          <p:cNvPr id="10" name="Straight Connector 9">
            <a:extLst>
              <a:ext uri="{FF2B5EF4-FFF2-40B4-BE49-F238E27FC236}">
                <a16:creationId xmlns:a16="http://schemas.microsoft.com/office/drawing/2014/main" id="{FFF1242F-B270-4B45-A4F1-93A53C683E65}"/>
              </a:ext>
            </a:extLst>
          </p:cNvPr>
          <p:cNvCxnSpPr>
            <a:cxnSpLocks/>
          </p:cNvCxnSpPr>
          <p:nvPr/>
        </p:nvCxnSpPr>
        <p:spPr>
          <a:xfrm>
            <a:off x="4965290" y="1502978"/>
            <a:ext cx="0" cy="4425874"/>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A6F3604-45E5-6942-8EC9-32C8DA9BA187}"/>
              </a:ext>
            </a:extLst>
          </p:cNvPr>
          <p:cNvSpPr txBox="1"/>
          <p:nvPr/>
        </p:nvSpPr>
        <p:spPr>
          <a:xfrm>
            <a:off x="381895" y="1916907"/>
            <a:ext cx="4396581" cy="288694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sng" strike="noStrike" kern="0" cap="none" spc="0" normalizeH="0" baseline="0" noProof="0" dirty="0">
                <a:ln>
                  <a:noFill/>
                </a:ln>
                <a:solidFill>
                  <a:srgbClr val="505050"/>
                </a:solidFill>
                <a:effectLst/>
                <a:uLnTx/>
                <a:uFillTx/>
                <a:latin typeface="Segoe UI"/>
                <a:ea typeface="+mn-ea"/>
                <a:cs typeface="Segoe UI" panose="020B0502040204020203" pitchFamily="34" charset="0"/>
              </a:rPr>
              <a:t>Start with a Scenario Overview</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a:p>
            <a:pPr lvl="0">
              <a:lnSpc>
                <a:spcPct val="90000"/>
              </a:lnSpc>
              <a:spcAft>
                <a:spcPts val="600"/>
              </a:spcAft>
              <a:defRPr/>
            </a:pPr>
            <a:r>
              <a:rPr lang="en-US" sz="1400" i="1" kern="0" dirty="0">
                <a:solidFill>
                  <a:srgbClr val="505050"/>
                </a:solidFill>
                <a:cs typeface="Segoe UI" panose="020B0502040204020203" pitchFamily="34" charset="0"/>
              </a:rPr>
              <a:t>The refrigerated transportation smart contract covers a provenance scenario with IoT monitoring. You can think of it as a supply chain transport scenario where certain compliance rules must be met throughout the duration of the transportation process. The initiating counterparty specifies the humidity and temperature range the measurement must fall in to be compliant. At any point, if the device takes a temperature or humidity measurement that is out of range, the contract state will be updated to indicate that it is out of compliance. </a:t>
            </a:r>
          </a:p>
        </p:txBody>
      </p:sp>
      <p:sp>
        <p:nvSpPr>
          <p:cNvPr id="15" name="TextBox 14">
            <a:extLst>
              <a:ext uri="{FF2B5EF4-FFF2-40B4-BE49-F238E27FC236}">
                <a16:creationId xmlns:a16="http://schemas.microsoft.com/office/drawing/2014/main" id="{1019BD49-2E3B-0648-92A6-2AC8A33F014C}"/>
              </a:ext>
            </a:extLst>
          </p:cNvPr>
          <p:cNvSpPr txBox="1"/>
          <p:nvPr/>
        </p:nvSpPr>
        <p:spPr>
          <a:xfrm>
            <a:off x="5268468" y="1916907"/>
            <a:ext cx="4396581" cy="8710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b="1" u="sng" kern="0" dirty="0">
                <a:solidFill>
                  <a:srgbClr val="505050"/>
                </a:solidFill>
                <a:latin typeface="Segoe UI"/>
                <a:cs typeface="Segoe UI" panose="020B0502040204020203" pitchFamily="34" charset="0"/>
              </a:rPr>
              <a:t>Illustrate</a:t>
            </a:r>
            <a:r>
              <a:rPr kumimoji="0" lang="en-US" sz="1800" b="1" i="0" u="sng" strike="noStrike" kern="0" cap="none" spc="0" normalizeH="0" baseline="0" noProof="0" dirty="0">
                <a:ln>
                  <a:noFill/>
                </a:ln>
                <a:solidFill>
                  <a:srgbClr val="505050"/>
                </a:solidFill>
                <a:effectLst/>
                <a:uLnTx/>
                <a:uFillTx/>
                <a:latin typeface="Segoe UI"/>
                <a:ea typeface="+mn-ea"/>
                <a:cs typeface="Segoe UI" panose="020B0502040204020203" pitchFamily="34" charset="0"/>
              </a:rPr>
              <a:t> the desired process flow</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14620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Define your application rol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08091089"/>
              </p:ext>
            </p:extLst>
          </p:nvPr>
        </p:nvGraphicFramePr>
        <p:xfrm>
          <a:off x="737419" y="1427588"/>
          <a:ext cx="10253483" cy="3672924"/>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r>
                        <a:rPr lang="en-US" dirty="0" err="1"/>
                        <a:t>InitiatingCounterParty</a:t>
                      </a:r>
                      <a:endParaRPr lang="en-US" dirty="0"/>
                    </a:p>
                  </a:txBody>
                  <a:tcPr/>
                </a:tc>
                <a:tc>
                  <a:txBody>
                    <a:bodyPr/>
                    <a:lstStyle/>
                    <a:p>
                      <a:r>
                        <a:rPr lang="en-US" dirty="0"/>
                        <a:t>The first participant in the supply chain.</a:t>
                      </a:r>
                    </a:p>
                  </a:txBody>
                  <a:tcPr/>
                </a:tc>
                <a:extLst>
                  <a:ext uri="{0D108BD9-81ED-4DB2-BD59-A6C34878D82A}">
                    <a16:rowId xmlns:a16="http://schemas.microsoft.com/office/drawing/2014/main" val="1805861624"/>
                  </a:ext>
                </a:extLst>
              </a:tr>
              <a:tr h="578146">
                <a:tc>
                  <a:txBody>
                    <a:bodyPr/>
                    <a:lstStyle/>
                    <a:p>
                      <a:r>
                        <a:rPr lang="en-US" dirty="0"/>
                        <a:t>Counterparty</a:t>
                      </a:r>
                    </a:p>
                  </a:txBody>
                  <a:tcPr/>
                </a:tc>
                <a:tc>
                  <a:txBody>
                    <a:bodyPr/>
                    <a:lstStyle/>
                    <a:p>
                      <a:r>
                        <a:rPr lang="en-US" dirty="0"/>
                        <a:t>A party to whom responsibility for a product has been assigned. </a:t>
                      </a:r>
                    </a:p>
                    <a:p>
                      <a:r>
                        <a:rPr lang="en-US" dirty="0"/>
                        <a:t>For example, a shipper</a:t>
                      </a:r>
                    </a:p>
                  </a:txBody>
                  <a:tcPr/>
                </a:tc>
                <a:extLst>
                  <a:ext uri="{0D108BD9-81ED-4DB2-BD59-A6C34878D82A}">
                    <a16:rowId xmlns:a16="http://schemas.microsoft.com/office/drawing/2014/main" val="1136570002"/>
                  </a:ext>
                </a:extLst>
              </a:tr>
              <a:tr h="578146">
                <a:tc>
                  <a:txBody>
                    <a:bodyPr/>
                    <a:lstStyle/>
                    <a:p>
                      <a:r>
                        <a:rPr lang="en-US" dirty="0"/>
                        <a:t>Device</a:t>
                      </a:r>
                    </a:p>
                  </a:txBody>
                  <a:tcPr/>
                </a:tc>
                <a:tc>
                  <a:txBody>
                    <a:bodyPr/>
                    <a:lstStyle/>
                    <a:p>
                      <a:r>
                        <a:rPr lang="en-US" dirty="0"/>
                        <a:t>A device used to monitor the temperature and humidity of the environment the good(s) are being shipped in.</a:t>
                      </a:r>
                    </a:p>
                  </a:txBody>
                  <a:tcPr/>
                </a:tc>
                <a:extLst>
                  <a:ext uri="{0D108BD9-81ED-4DB2-BD59-A6C34878D82A}">
                    <a16:rowId xmlns:a16="http://schemas.microsoft.com/office/drawing/2014/main" val="2587058528"/>
                  </a:ext>
                </a:extLst>
              </a:tr>
              <a:tr h="578146">
                <a:tc>
                  <a:txBody>
                    <a:bodyPr/>
                    <a:lstStyle/>
                    <a:p>
                      <a:r>
                        <a:rPr lang="en-US" dirty="0"/>
                        <a:t>Owner</a:t>
                      </a:r>
                    </a:p>
                  </a:txBody>
                  <a:tcPr/>
                </a:tc>
                <a:tc>
                  <a:txBody>
                    <a:bodyPr/>
                    <a:lstStyle/>
                    <a:p>
                      <a:r>
                        <a:rPr lang="en-US" dirty="0"/>
                        <a:t>The organization that owns the product being transported. </a:t>
                      </a:r>
                    </a:p>
                    <a:p>
                      <a:r>
                        <a:rPr lang="en-US" dirty="0"/>
                        <a:t>For example, a manufacturer</a:t>
                      </a:r>
                    </a:p>
                  </a:txBody>
                  <a:tcPr/>
                </a:tc>
                <a:extLst>
                  <a:ext uri="{0D108BD9-81ED-4DB2-BD59-A6C34878D82A}">
                    <a16:rowId xmlns:a16="http://schemas.microsoft.com/office/drawing/2014/main" val="778680367"/>
                  </a:ext>
                </a:extLst>
              </a:tr>
              <a:tr h="578146">
                <a:tc>
                  <a:txBody>
                    <a:bodyPr/>
                    <a:lstStyle/>
                    <a:p>
                      <a:r>
                        <a:rPr lang="en-US" dirty="0"/>
                        <a:t>Observer</a:t>
                      </a:r>
                    </a:p>
                  </a:txBody>
                  <a:tcPr/>
                </a:tc>
                <a:tc>
                  <a:txBody>
                    <a:bodyPr/>
                    <a:lstStyle/>
                    <a:p>
                      <a:r>
                        <a:rPr lang="en-US" dirty="0"/>
                        <a:t>The individual or organization monitoring the supply chain. </a:t>
                      </a:r>
                    </a:p>
                    <a:p>
                      <a:r>
                        <a:rPr lang="en-US" dirty="0"/>
                        <a:t>For example, a government agency</a:t>
                      </a:r>
                    </a:p>
                  </a:txBody>
                  <a:tcPr/>
                </a:tc>
                <a:extLst>
                  <a:ext uri="{0D108BD9-81ED-4DB2-BD59-A6C34878D82A}">
                    <a16:rowId xmlns:a16="http://schemas.microsoft.com/office/drawing/2014/main" val="3171685955"/>
                  </a:ext>
                </a:extLst>
              </a:tr>
            </a:tbl>
          </a:graphicData>
        </a:graphic>
      </p:graphicFrame>
      <p:sp>
        <p:nvSpPr>
          <p:cNvPr id="9" name="TextBox 8">
            <a:extLst>
              <a:ext uri="{FF2B5EF4-FFF2-40B4-BE49-F238E27FC236}">
                <a16:creationId xmlns:a16="http://schemas.microsoft.com/office/drawing/2014/main" id="{1854F160-4D64-DB40-B6E0-A6E68C0F7711}"/>
              </a:ext>
            </a:extLst>
          </p:cNvPr>
          <p:cNvSpPr txBox="1"/>
          <p:nvPr/>
        </p:nvSpPr>
        <p:spPr>
          <a:xfrm>
            <a:off x="737420" y="5235654"/>
            <a:ext cx="10253482" cy="1071062"/>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All participants can view the state and details of the contract at any point in time. The counterparty doing the transportation will specify the next counterparty responsible, and the device will ingest temperature and humidity data which gets written to the chain. This allows the Supply Chain Owner and Supply Chain Observer to pinpoint which counterparty did not fulfill the compliance regulations if at any point in the process either the temperature or humidity requirements were not met.</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60512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Enumerate all of your smart contract states</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1488188820"/>
              </p:ext>
            </p:extLst>
          </p:nvPr>
        </p:nvGraphicFramePr>
        <p:xfrm>
          <a:off x="737419" y="1427588"/>
          <a:ext cx="10253483" cy="2992754"/>
        </p:xfrm>
        <a:graphic>
          <a:graphicData uri="http://schemas.openxmlformats.org/drawingml/2006/table">
            <a:tbl>
              <a:tblPr firstRow="1" bandRow="1">
                <a:tableStyleId>{F5AB1C69-6EDB-4FF4-983F-18BD219EF322}</a:tableStyleId>
              </a:tblPr>
              <a:tblGrid>
                <a:gridCol w="2965074">
                  <a:extLst>
                    <a:ext uri="{9D8B030D-6E8A-4147-A177-3AD203B41FA5}">
                      <a16:colId xmlns:a16="http://schemas.microsoft.com/office/drawing/2014/main" val="1956135441"/>
                    </a:ext>
                  </a:extLst>
                </a:gridCol>
                <a:gridCol w="7288409">
                  <a:extLst>
                    <a:ext uri="{9D8B030D-6E8A-4147-A177-3AD203B41FA5}">
                      <a16:colId xmlns:a16="http://schemas.microsoft.com/office/drawing/2014/main" val="3448598843"/>
                    </a:ext>
                  </a:extLst>
                </a:gridCol>
              </a:tblGrid>
              <a:tr h="578146">
                <a:tc>
                  <a:txBody>
                    <a:bodyPr/>
                    <a:lstStyle/>
                    <a:p>
                      <a:r>
                        <a:rPr lang="en-US" dirty="0"/>
                        <a:t>Name</a:t>
                      </a:r>
                    </a:p>
                  </a:txBody>
                  <a:tcPr/>
                </a:tc>
                <a:tc>
                  <a:txBody>
                    <a:bodyPr/>
                    <a:lstStyle/>
                    <a:p>
                      <a:r>
                        <a:rPr lang="en-US" dirty="0"/>
                        <a:t>Description</a:t>
                      </a:r>
                    </a:p>
                  </a:txBody>
                  <a:tcPr/>
                </a:tc>
                <a:extLst>
                  <a:ext uri="{0D108BD9-81ED-4DB2-BD59-A6C34878D82A}">
                    <a16:rowId xmlns:a16="http://schemas.microsoft.com/office/drawing/2014/main" val="1960670011"/>
                  </a:ext>
                </a:extLst>
              </a:tr>
              <a:tr h="578146">
                <a:tc>
                  <a:txBody>
                    <a:bodyPr/>
                    <a:lstStyle/>
                    <a:p>
                      <a:r>
                        <a:rPr lang="en-US" dirty="0"/>
                        <a:t>Created</a:t>
                      </a:r>
                    </a:p>
                  </a:txBody>
                  <a:tcPr/>
                </a:tc>
                <a:tc>
                  <a:txBody>
                    <a:bodyPr/>
                    <a:lstStyle/>
                    <a:p>
                      <a:r>
                        <a:rPr lang="en-US" dirty="0"/>
                        <a:t>Indicates that the contract has initiated and tracking is in progress.</a:t>
                      </a:r>
                    </a:p>
                  </a:txBody>
                  <a:tcPr/>
                </a:tc>
                <a:extLst>
                  <a:ext uri="{0D108BD9-81ED-4DB2-BD59-A6C34878D82A}">
                    <a16:rowId xmlns:a16="http://schemas.microsoft.com/office/drawing/2014/main" val="1805861624"/>
                  </a:ext>
                </a:extLst>
              </a:tr>
              <a:tr h="578146">
                <a:tc>
                  <a:txBody>
                    <a:bodyPr/>
                    <a:lstStyle/>
                    <a:p>
                      <a:r>
                        <a:rPr lang="en-US" dirty="0" err="1"/>
                        <a:t>InTransit</a:t>
                      </a:r>
                      <a:endParaRPr lang="en-US" dirty="0"/>
                    </a:p>
                  </a:txBody>
                  <a:tcPr/>
                </a:tc>
                <a:tc>
                  <a:txBody>
                    <a:bodyPr/>
                    <a:lstStyle/>
                    <a:p>
                      <a:r>
                        <a:rPr lang="en-US" dirty="0"/>
                        <a:t>Indicates that a Counterparty currently is in possession and responsible for goods being transported.</a:t>
                      </a:r>
                    </a:p>
                  </a:txBody>
                  <a:tcPr/>
                </a:tc>
                <a:extLst>
                  <a:ext uri="{0D108BD9-81ED-4DB2-BD59-A6C34878D82A}">
                    <a16:rowId xmlns:a16="http://schemas.microsoft.com/office/drawing/2014/main" val="1136570002"/>
                  </a:ext>
                </a:extLst>
              </a:tr>
              <a:tr h="578146">
                <a:tc>
                  <a:txBody>
                    <a:bodyPr/>
                    <a:lstStyle/>
                    <a:p>
                      <a:r>
                        <a:rPr lang="en-US" dirty="0"/>
                        <a:t>Completed</a:t>
                      </a:r>
                    </a:p>
                  </a:txBody>
                  <a:tcPr/>
                </a:tc>
                <a:tc>
                  <a:txBody>
                    <a:bodyPr/>
                    <a:lstStyle/>
                    <a:p>
                      <a:r>
                        <a:rPr lang="en-US" dirty="0"/>
                        <a:t>Indicates the product has reached it's intended destination.</a:t>
                      </a:r>
                    </a:p>
                  </a:txBody>
                  <a:tcPr/>
                </a:tc>
                <a:extLst>
                  <a:ext uri="{0D108BD9-81ED-4DB2-BD59-A6C34878D82A}">
                    <a16:rowId xmlns:a16="http://schemas.microsoft.com/office/drawing/2014/main" val="2587058528"/>
                  </a:ext>
                </a:extLst>
              </a:tr>
              <a:tr h="578146">
                <a:tc>
                  <a:txBody>
                    <a:bodyPr/>
                    <a:lstStyle/>
                    <a:p>
                      <a:r>
                        <a:rPr lang="en-US" dirty="0" err="1"/>
                        <a:t>OutOfCompliance</a:t>
                      </a:r>
                      <a:endParaRPr lang="en-US" dirty="0"/>
                    </a:p>
                  </a:txBody>
                  <a:tcPr/>
                </a:tc>
                <a:tc>
                  <a:txBody>
                    <a:bodyPr/>
                    <a:lstStyle/>
                    <a:p>
                      <a:r>
                        <a:rPr lang="en-US" dirty="0"/>
                        <a:t>Indicates that the agreed upon terms for temperature and humidity conditions were not met.</a:t>
                      </a:r>
                    </a:p>
                  </a:txBody>
                  <a:tcPr/>
                </a:tc>
                <a:extLst>
                  <a:ext uri="{0D108BD9-81ED-4DB2-BD59-A6C34878D82A}">
                    <a16:rowId xmlns:a16="http://schemas.microsoft.com/office/drawing/2014/main" val="778680367"/>
                  </a:ext>
                </a:extLst>
              </a:tr>
            </a:tbl>
          </a:graphicData>
        </a:graphic>
      </p:graphicFrame>
      <p:sp>
        <p:nvSpPr>
          <p:cNvPr id="7" name="TextBox 6">
            <a:extLst>
              <a:ext uri="{FF2B5EF4-FFF2-40B4-BE49-F238E27FC236}">
                <a16:creationId xmlns:a16="http://schemas.microsoft.com/office/drawing/2014/main" id="{953D2544-1348-F24C-8B11-C5569D787AC0}"/>
              </a:ext>
            </a:extLst>
          </p:cNvPr>
          <p:cNvSpPr txBox="1"/>
          <p:nvPr/>
        </p:nvSpPr>
        <p:spPr>
          <a:xfrm>
            <a:off x="737420" y="5235654"/>
            <a:ext cx="10253482" cy="877163"/>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Combine the application story, roles and smart contract states to create a state transition design that articulates the possible flows, and the various transition functions at each state. Each user is only allowed to take certain actions depending on the application role. Instance roles indicate that only the user with the application role assigned to the specific contract is able to take actions on the contract. </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63297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Draft the workflow details as a state transition design</a:t>
            </a:r>
          </a:p>
        </p:txBody>
      </p:sp>
      <p:sp>
        <p:nvSpPr>
          <p:cNvPr id="7" name="TextBox 6">
            <a:extLst>
              <a:ext uri="{FF2B5EF4-FFF2-40B4-BE49-F238E27FC236}">
                <a16:creationId xmlns:a16="http://schemas.microsoft.com/office/drawing/2014/main" id="{953D2544-1348-F24C-8B11-C5569D787AC0}"/>
              </a:ext>
            </a:extLst>
          </p:cNvPr>
          <p:cNvSpPr txBox="1"/>
          <p:nvPr/>
        </p:nvSpPr>
        <p:spPr>
          <a:xfrm>
            <a:off x="737420" y="5128944"/>
            <a:ext cx="10253482" cy="1264962"/>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This contract demonstrates how to collect telemetry information and enforce contract specifics related to conditions during transport. Specifically, receiving and evaluating temperature and humidity data against an agreed upon acceptable range. If the IoT device identifies that the telemetry is out of the acceptable range, the contract will shift into an out of compliance state and appropriate remedies can be sought. In the highlighted happy path, the device ingests readings, which are in compliance throughout the transportation process, while the involved counterparties transfer responsibility until the transportation is completed. </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pic>
        <p:nvPicPr>
          <p:cNvPr id="8" name="Picture 2" descr="Machine generated alternative text:&#10;ELEMETRY OMPLIRNCE STmTe TRANSITIONS &#10;ATI-ICATION ROLES &#10;- XNlTlATlN6 COUNTCR?ARTH C rcp) &#10;- COONT&amp;RPARTY CC?) &#10;- Device C') &#10;- Obe0NeR &#10;- OBSeRvee COB) &#10;F: INGEST &#10;TEL€m€T2--f ( &#10;AIRD &#10;• TRANSITION &#10;ROLE &#10;AR Al-cowe» &#10;-SrÄT€s C OR &#10;AR INT F. &#10;1üNSFER &#10;TRANSIT &#10;• CompG7E &#10;TELEtvETRM ( ) &#10;OUT og &#10;Comp.-ETED &#10;cess ">
            <a:extLst>
              <a:ext uri="{FF2B5EF4-FFF2-40B4-BE49-F238E27FC236}">
                <a16:creationId xmlns:a16="http://schemas.microsoft.com/office/drawing/2014/main" id="{42B0175C-B7DF-ED44-A1F6-E4BE729DCFB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1114287" y="1355660"/>
            <a:ext cx="9144223" cy="384066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C58292A-98E3-415A-B576-FB5935B514C8}"/>
              </a:ext>
            </a:extLst>
          </p:cNvPr>
          <p:cNvSpPr txBox="1"/>
          <p:nvPr/>
        </p:nvSpPr>
        <p:spPr>
          <a:xfrm>
            <a:off x="4724400" y="3200400"/>
            <a:ext cx="2743200" cy="10433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a:solidFill>
                  <a:srgbClr val="FFFFFF"/>
                </a:solidFill>
                <a:latin typeface="Calibri Light"/>
              </a:rPr>
              <a:t>MVP - Solution Development and Deployment</a:t>
            </a:r>
            <a:r>
              <a:rPr lang="en-US">
                <a:latin typeface="Calibri Light"/>
                <a:cs typeface="Calibri Light"/>
              </a:rPr>
              <a:t>​</a:t>
            </a:r>
            <a:endParaRPr lang="en-US"/>
          </a:p>
        </p:txBody>
      </p:sp>
    </p:spTree>
    <p:extLst>
      <p:ext uri="{BB962C8B-B14F-4D97-AF65-F5344CB8AC3E}">
        <p14:creationId xmlns:p14="http://schemas.microsoft.com/office/powerpoint/2010/main" val="15780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039CE-1EFD-4892-A314-F4AE85A98AA6}"/>
              </a:ext>
            </a:extLst>
          </p:cNvPr>
          <p:cNvSpPr>
            <a:spLocks noGrp="1"/>
          </p:cNvSpPr>
          <p:nvPr>
            <p:ph type="title"/>
          </p:nvPr>
        </p:nvSpPr>
        <p:spPr>
          <a:xfrm>
            <a:off x="0" y="457200"/>
            <a:ext cx="12192000" cy="1661993"/>
          </a:xfrm>
        </p:spPr>
        <p:txBody>
          <a:bodyPr/>
          <a:lstStyle/>
          <a:p>
            <a:r>
              <a:rPr lang="en-US" sz="3600" dirty="0"/>
              <a:t>Specify data as parameters relative to roles and functions </a:t>
            </a:r>
          </a:p>
        </p:txBody>
      </p:sp>
      <p:graphicFrame>
        <p:nvGraphicFramePr>
          <p:cNvPr id="3" name="Table 2">
            <a:extLst>
              <a:ext uri="{FF2B5EF4-FFF2-40B4-BE49-F238E27FC236}">
                <a16:creationId xmlns:a16="http://schemas.microsoft.com/office/drawing/2014/main" id="{0BB77A57-9388-154E-9FC0-15651E29486C}"/>
              </a:ext>
            </a:extLst>
          </p:cNvPr>
          <p:cNvGraphicFramePr>
            <a:graphicFrameLocks noGrp="1"/>
          </p:cNvGraphicFramePr>
          <p:nvPr>
            <p:extLst>
              <p:ext uri="{D42A27DB-BD31-4B8C-83A1-F6EECF244321}">
                <p14:modId xmlns:p14="http://schemas.microsoft.com/office/powerpoint/2010/main" val="260442956"/>
              </p:ext>
            </p:extLst>
          </p:nvPr>
        </p:nvGraphicFramePr>
        <p:xfrm>
          <a:off x="737419" y="1122792"/>
          <a:ext cx="10253484" cy="4966207"/>
        </p:xfrm>
        <a:graphic>
          <a:graphicData uri="http://schemas.openxmlformats.org/drawingml/2006/table">
            <a:tbl>
              <a:tblPr firstRow="1" bandRow="1">
                <a:tableStyleId>{F5AB1C69-6EDB-4FF4-983F-18BD219EF322}</a:tableStyleId>
              </a:tblPr>
              <a:tblGrid>
                <a:gridCol w="1733128">
                  <a:extLst>
                    <a:ext uri="{9D8B030D-6E8A-4147-A177-3AD203B41FA5}">
                      <a16:colId xmlns:a16="http://schemas.microsoft.com/office/drawing/2014/main" val="1956135441"/>
                    </a:ext>
                  </a:extLst>
                </a:gridCol>
                <a:gridCol w="4260178">
                  <a:extLst>
                    <a:ext uri="{9D8B030D-6E8A-4147-A177-3AD203B41FA5}">
                      <a16:colId xmlns:a16="http://schemas.microsoft.com/office/drawing/2014/main" val="3448598843"/>
                    </a:ext>
                  </a:extLst>
                </a:gridCol>
                <a:gridCol w="4260178">
                  <a:extLst>
                    <a:ext uri="{9D8B030D-6E8A-4147-A177-3AD203B41FA5}">
                      <a16:colId xmlns:a16="http://schemas.microsoft.com/office/drawing/2014/main" val="924185933"/>
                    </a:ext>
                  </a:extLst>
                </a:gridCol>
              </a:tblGrid>
              <a:tr h="578146">
                <a:tc>
                  <a:txBody>
                    <a:bodyPr/>
                    <a:lstStyle/>
                    <a:p>
                      <a:r>
                        <a:rPr lang="en-US" dirty="0"/>
                        <a:t>Application Role</a:t>
                      </a:r>
                    </a:p>
                  </a:txBody>
                  <a:tcPr/>
                </a:tc>
                <a:tc>
                  <a:txBody>
                    <a:bodyPr/>
                    <a:lstStyle/>
                    <a:p>
                      <a:r>
                        <a:rPr lang="en-US" dirty="0"/>
                        <a:t>Available Functions</a:t>
                      </a:r>
                    </a:p>
                  </a:txBody>
                  <a:tcPr/>
                </a:tc>
                <a:tc>
                  <a:txBody>
                    <a:bodyPr/>
                    <a:lstStyle/>
                    <a:p>
                      <a:r>
                        <a:rPr lang="en-US" dirty="0"/>
                        <a:t>Parameters</a:t>
                      </a:r>
                    </a:p>
                  </a:txBody>
                  <a:tcPr/>
                </a:tc>
                <a:extLst>
                  <a:ext uri="{0D108BD9-81ED-4DB2-BD59-A6C34878D82A}">
                    <a16:rowId xmlns:a16="http://schemas.microsoft.com/office/drawing/2014/main" val="1960670011"/>
                  </a:ext>
                </a:extLst>
              </a:tr>
              <a:tr h="578146">
                <a:tc>
                  <a:txBody>
                    <a:bodyPr/>
                    <a:lstStyle/>
                    <a:p>
                      <a:r>
                        <a:rPr lang="en-US" dirty="0" err="1"/>
                        <a:t>InitiatingCounterParty</a:t>
                      </a:r>
                      <a:endParaRPr lang="en-US" dirty="0"/>
                    </a:p>
                  </a:txBody>
                  <a:tcPr/>
                </a:tc>
                <a:tc>
                  <a:txBody>
                    <a:bodyPr/>
                    <a:lstStyle/>
                    <a:p>
                      <a:r>
                        <a:rPr lang="en-US" dirty="0"/>
                        <a:t>Create contract instance</a:t>
                      </a:r>
                    </a:p>
                    <a:p>
                      <a:r>
                        <a:rPr lang="en-US" dirty="0"/>
                        <a:t>Transfer responsibility</a:t>
                      </a:r>
                    </a:p>
                  </a:txBody>
                  <a:tcPr/>
                </a:tc>
                <a:tc>
                  <a:txBody>
                    <a:bodyPr/>
                    <a:lstStyle/>
                    <a:p>
                      <a:r>
                        <a:rPr lang="en-US" dirty="0" err="1"/>
                        <a:t>MinHumidity</a:t>
                      </a:r>
                      <a:endParaRPr lang="en-US" dirty="0"/>
                    </a:p>
                    <a:p>
                      <a:r>
                        <a:rPr lang="en-US" dirty="0" err="1"/>
                        <a:t>MaxHumidity</a:t>
                      </a:r>
                      <a:endParaRPr lang="en-US" dirty="0"/>
                    </a:p>
                    <a:p>
                      <a:r>
                        <a:rPr lang="en-US" dirty="0" err="1"/>
                        <a:t>MinTemperature</a:t>
                      </a:r>
                      <a:endParaRPr lang="en-US" dirty="0"/>
                    </a:p>
                    <a:p>
                      <a:r>
                        <a:rPr lang="en-US" dirty="0" err="1"/>
                        <a:t>MaxTemperature</a:t>
                      </a:r>
                      <a:endParaRPr lang="en-US" dirty="0"/>
                    </a:p>
                    <a:p>
                      <a:r>
                        <a:rPr lang="en-US" dirty="0"/>
                        <a:t>Device Name</a:t>
                      </a:r>
                    </a:p>
                    <a:p>
                      <a:r>
                        <a:rPr lang="en-US" dirty="0"/>
                        <a:t>Counterparty Name</a:t>
                      </a:r>
                    </a:p>
                    <a:p>
                      <a:r>
                        <a:rPr lang="en-US" dirty="0"/>
                        <a:t>Owner Name</a:t>
                      </a:r>
                    </a:p>
                  </a:txBody>
                  <a:tcPr/>
                </a:tc>
                <a:extLst>
                  <a:ext uri="{0D108BD9-81ED-4DB2-BD59-A6C34878D82A}">
                    <a16:rowId xmlns:a16="http://schemas.microsoft.com/office/drawing/2014/main" val="1805861624"/>
                  </a:ext>
                </a:extLst>
              </a:tr>
              <a:tr h="578146">
                <a:tc>
                  <a:txBody>
                    <a:bodyPr/>
                    <a:lstStyle/>
                    <a:p>
                      <a:r>
                        <a:rPr lang="en-US" dirty="0"/>
                        <a:t>Counterparty</a:t>
                      </a:r>
                    </a:p>
                  </a:txBody>
                  <a:tcPr/>
                </a:tc>
                <a:tc>
                  <a:txBody>
                    <a:bodyPr/>
                    <a:lstStyle/>
                    <a:p>
                      <a:r>
                        <a:rPr lang="en-US" dirty="0"/>
                        <a:t>Transfer responsibility</a:t>
                      </a:r>
                    </a:p>
                  </a:txBody>
                  <a:tcPr/>
                </a:tc>
                <a:tc>
                  <a:txBody>
                    <a:bodyPr/>
                    <a:lstStyle/>
                    <a:p>
                      <a:r>
                        <a:rPr lang="en-US" dirty="0"/>
                        <a:t>Counterparty Name</a:t>
                      </a:r>
                    </a:p>
                  </a:txBody>
                  <a:tcPr/>
                </a:tc>
                <a:extLst>
                  <a:ext uri="{0D108BD9-81ED-4DB2-BD59-A6C34878D82A}">
                    <a16:rowId xmlns:a16="http://schemas.microsoft.com/office/drawing/2014/main" val="1136570002"/>
                  </a:ext>
                </a:extLst>
              </a:tr>
              <a:tr h="578146">
                <a:tc>
                  <a:txBody>
                    <a:bodyPr/>
                    <a:lstStyle/>
                    <a:p>
                      <a:r>
                        <a:rPr lang="en-US" dirty="0"/>
                        <a:t>Device</a:t>
                      </a:r>
                    </a:p>
                  </a:txBody>
                  <a:tcPr/>
                </a:tc>
                <a:tc>
                  <a:txBody>
                    <a:bodyPr/>
                    <a:lstStyle/>
                    <a:p>
                      <a:r>
                        <a:rPr lang="en-US" dirty="0"/>
                        <a:t>Ingest telemetry</a:t>
                      </a:r>
                    </a:p>
                  </a:txBody>
                  <a:tcPr/>
                </a:tc>
                <a:tc>
                  <a:txBody>
                    <a:bodyPr/>
                    <a:lstStyle/>
                    <a:p>
                      <a:r>
                        <a:rPr lang="en-US" dirty="0" err="1"/>
                        <a:t>ComplianceSensorReading</a:t>
                      </a:r>
                      <a:endParaRPr lang="en-US" dirty="0"/>
                    </a:p>
                    <a:p>
                      <a:r>
                        <a:rPr lang="en-US" dirty="0" err="1"/>
                        <a:t>LastSensorUpdateTimestamp</a:t>
                      </a:r>
                      <a:endParaRPr lang="en-US" dirty="0"/>
                    </a:p>
                  </a:txBody>
                  <a:tcPr/>
                </a:tc>
                <a:extLst>
                  <a:ext uri="{0D108BD9-81ED-4DB2-BD59-A6C34878D82A}">
                    <a16:rowId xmlns:a16="http://schemas.microsoft.com/office/drawing/2014/main" val="2587058528"/>
                  </a:ext>
                </a:extLst>
              </a:tr>
              <a:tr h="578146">
                <a:tc>
                  <a:txBody>
                    <a:bodyPr/>
                    <a:lstStyle/>
                    <a:p>
                      <a:r>
                        <a:rPr lang="en-US" dirty="0"/>
                        <a:t>Owner</a:t>
                      </a:r>
                    </a:p>
                  </a:txBody>
                  <a:tcPr/>
                </a:tc>
                <a:tc>
                  <a:txBody>
                    <a:bodyPr/>
                    <a:lstStyle/>
                    <a:p>
                      <a:r>
                        <a:rPr lang="en-US" dirty="0"/>
                        <a:t>Mark delivery complete</a:t>
                      </a:r>
                    </a:p>
                  </a:txBody>
                  <a:tcPr/>
                </a:tc>
                <a:tc>
                  <a:txBody>
                    <a:bodyPr/>
                    <a:lstStyle/>
                    <a:p>
                      <a:r>
                        <a:rPr lang="en-US" dirty="0"/>
                        <a:t>---</a:t>
                      </a:r>
                    </a:p>
                  </a:txBody>
                  <a:tcPr/>
                </a:tc>
                <a:extLst>
                  <a:ext uri="{0D108BD9-81ED-4DB2-BD59-A6C34878D82A}">
                    <a16:rowId xmlns:a16="http://schemas.microsoft.com/office/drawing/2014/main" val="778680367"/>
                  </a:ext>
                </a:extLst>
              </a:tr>
              <a:tr h="578146">
                <a:tc>
                  <a:txBody>
                    <a:bodyPr/>
                    <a:lstStyle/>
                    <a:p>
                      <a:r>
                        <a:rPr lang="en-US" dirty="0"/>
                        <a:t>Observer</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1512822379"/>
                  </a:ext>
                </a:extLst>
              </a:tr>
            </a:tbl>
          </a:graphicData>
        </a:graphic>
      </p:graphicFrame>
      <p:sp>
        <p:nvSpPr>
          <p:cNvPr id="7" name="TextBox 6">
            <a:extLst>
              <a:ext uri="{FF2B5EF4-FFF2-40B4-BE49-F238E27FC236}">
                <a16:creationId xmlns:a16="http://schemas.microsoft.com/office/drawing/2014/main" id="{953D2544-1348-F24C-8B11-C5569D787AC0}"/>
              </a:ext>
            </a:extLst>
          </p:cNvPr>
          <p:cNvSpPr txBox="1"/>
          <p:nvPr/>
        </p:nvSpPr>
        <p:spPr>
          <a:xfrm>
            <a:off x="737420" y="6228706"/>
            <a:ext cx="10253482" cy="489365"/>
          </a:xfrm>
          <a:prstGeom prst="rect">
            <a:avLst/>
          </a:prstGeom>
          <a:noFill/>
        </p:spPr>
        <p:txBody>
          <a:bodyPr wrap="square" lIns="182880" tIns="146304" rIns="182880" bIns="146304" rtlCol="0">
            <a:spAutoFit/>
          </a:bodyPr>
          <a:lstStyle/>
          <a:p>
            <a:pPr lvl="0">
              <a:lnSpc>
                <a:spcPct val="90000"/>
              </a:lnSpc>
              <a:spcAft>
                <a:spcPts val="600"/>
              </a:spcAft>
              <a:defRPr/>
            </a:pPr>
            <a:r>
              <a:rPr lang="en-US" sz="1400" i="1" kern="0" dirty="0">
                <a:solidFill>
                  <a:srgbClr val="505050"/>
                </a:solidFill>
                <a:cs typeface="Segoe UI" panose="020B0502040204020203" pitchFamily="34" charset="0"/>
              </a:rPr>
              <a:t>Use the workflow details to inform your decisions for a minimum viable set of parameters to store on your distributed ledger.</a:t>
            </a:r>
            <a:endParaRPr kumimoji="0" lang="en-US" sz="1400" b="0" i="1" u="none" strike="noStrike" kern="0" cap="none" spc="0" normalizeH="0" baseline="0" noProof="0" dirty="0">
              <a:ln>
                <a:noFill/>
              </a:ln>
              <a:solidFill>
                <a:srgbClr val="50505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48443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to write your workflow details as a Solidity Smart Contract</a:t>
            </a:r>
          </a:p>
        </p:txBody>
      </p:sp>
      <p:graphicFrame>
        <p:nvGraphicFramePr>
          <p:cNvPr id="3" name="Diagram 2">
            <a:extLst>
              <a:ext uri="{FF2B5EF4-FFF2-40B4-BE49-F238E27FC236}">
                <a16:creationId xmlns:a16="http://schemas.microsoft.com/office/drawing/2014/main" id="{6EDF83CD-1503-FC4E-BFDE-4E9A34FD3E5C}"/>
              </a:ext>
            </a:extLst>
          </p:cNvPr>
          <p:cNvGraphicFramePr/>
          <p:nvPr>
            <p:extLst>
              <p:ext uri="{D42A27DB-BD31-4B8C-83A1-F6EECF244321}">
                <p14:modId xmlns:p14="http://schemas.microsoft.com/office/powerpoint/2010/main" val="1612833676"/>
              </p:ext>
            </p:extLst>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 name="TextBox 53">
            <a:extLst>
              <a:ext uri="{FF2B5EF4-FFF2-40B4-BE49-F238E27FC236}">
                <a16:creationId xmlns:a16="http://schemas.microsoft.com/office/drawing/2014/main" id="{A5B0CE7A-0B71-8447-94BD-5CA73F7D613A}"/>
              </a:ext>
            </a:extLst>
          </p:cNvPr>
          <p:cNvSpPr txBox="1"/>
          <p:nvPr/>
        </p:nvSpPr>
        <p:spPr>
          <a:xfrm>
            <a:off x="134484" y="1038955"/>
            <a:ext cx="11922761"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Workbench uses both the configuration file and smart contract code file to create a blockchain application. There is a relationship between what is defined in the configuration and the code in the smart contract. </a:t>
            </a:r>
          </a:p>
        </p:txBody>
      </p:sp>
      <p:pic>
        <p:nvPicPr>
          <p:cNvPr id="12" name="Picture 11">
            <a:extLst>
              <a:ext uri="{FF2B5EF4-FFF2-40B4-BE49-F238E27FC236}">
                <a16:creationId xmlns:a16="http://schemas.microsoft.com/office/drawing/2014/main" id="{829FF354-47C2-7E47-AC9C-7AB72BB46B0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34485" y="5522686"/>
            <a:ext cx="2480524" cy="1055095"/>
          </a:xfrm>
          <a:prstGeom prst="rect">
            <a:avLst/>
          </a:prstGeom>
          <a:solidFill>
            <a:srgbClr val="CFD5EA"/>
          </a:solidFill>
        </p:spPr>
      </p:pic>
      <p:pic>
        <p:nvPicPr>
          <p:cNvPr id="14" name="Picture 13">
            <a:extLst>
              <a:ext uri="{FF2B5EF4-FFF2-40B4-BE49-F238E27FC236}">
                <a16:creationId xmlns:a16="http://schemas.microsoft.com/office/drawing/2014/main" id="{BF1B368F-4266-DC46-B9D0-26D379BA12C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528504" y="5738854"/>
            <a:ext cx="2351379" cy="212185"/>
          </a:xfrm>
          <a:prstGeom prst="rect">
            <a:avLst/>
          </a:prstGeom>
          <a:solidFill>
            <a:srgbClr val="CFD5EA"/>
          </a:solidFill>
        </p:spPr>
      </p:pic>
      <p:pic>
        <p:nvPicPr>
          <p:cNvPr id="15" name="Picture 14">
            <a:extLst>
              <a:ext uri="{FF2B5EF4-FFF2-40B4-BE49-F238E27FC236}">
                <a16:creationId xmlns:a16="http://schemas.microsoft.com/office/drawing/2014/main" id="{A4316DF5-16DB-D045-A90D-7283EECB1EBE}"/>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4962798" y="5667028"/>
            <a:ext cx="2480525" cy="419370"/>
          </a:xfrm>
          <a:prstGeom prst="rect">
            <a:avLst/>
          </a:prstGeom>
          <a:solidFill>
            <a:srgbClr val="CFD5EA"/>
          </a:solidFill>
        </p:spPr>
      </p:pic>
      <p:pic>
        <p:nvPicPr>
          <p:cNvPr id="16" name="Picture 15">
            <a:extLst>
              <a:ext uri="{FF2B5EF4-FFF2-40B4-BE49-F238E27FC236}">
                <a16:creationId xmlns:a16="http://schemas.microsoft.com/office/drawing/2014/main" id="{0A6DF503-48C5-8A4E-BA5E-8C7CE78D863F}"/>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688825" y="5654562"/>
            <a:ext cx="1676045" cy="1171237"/>
          </a:xfrm>
          <a:prstGeom prst="rect">
            <a:avLst/>
          </a:prstGeom>
          <a:solidFill>
            <a:srgbClr val="CFD5EA"/>
          </a:solidFill>
        </p:spPr>
      </p:pic>
      <p:pic>
        <p:nvPicPr>
          <p:cNvPr id="18" name="Picture 17">
            <a:extLst>
              <a:ext uri="{FF2B5EF4-FFF2-40B4-BE49-F238E27FC236}">
                <a16:creationId xmlns:a16="http://schemas.microsoft.com/office/drawing/2014/main" id="{A5F98103-3AD5-D34C-86DF-5964E111CBE6}"/>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9854580" y="5606432"/>
            <a:ext cx="2246252" cy="1171237"/>
          </a:xfrm>
          <a:prstGeom prst="rect">
            <a:avLst/>
          </a:prstGeom>
        </p:spPr>
      </p:pic>
    </p:spTree>
    <p:extLst>
      <p:ext uri="{BB962C8B-B14F-4D97-AF65-F5344CB8AC3E}">
        <p14:creationId xmlns:p14="http://schemas.microsoft.com/office/powerpoint/2010/main" val="1743103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38EF-9D73-494C-94A1-695646299296}"/>
              </a:ext>
            </a:extLst>
          </p:cNvPr>
          <p:cNvSpPr>
            <a:spLocks noGrp="1"/>
          </p:cNvSpPr>
          <p:nvPr>
            <p:ph type="title"/>
          </p:nvPr>
        </p:nvSpPr>
        <p:spPr>
          <a:xfrm>
            <a:off x="0" y="289511"/>
            <a:ext cx="12192000" cy="899665"/>
          </a:xfrm>
        </p:spPr>
        <p:txBody>
          <a:bodyPr/>
          <a:lstStyle/>
          <a:p>
            <a:r>
              <a:rPr lang="en-US" sz="3600" dirty="0">
                <a:solidFill>
                  <a:srgbClr val="505050"/>
                </a:solidFill>
              </a:rPr>
              <a:t>Prepare your Workbench JSON application configuration file</a:t>
            </a:r>
          </a:p>
        </p:txBody>
      </p:sp>
      <p:graphicFrame>
        <p:nvGraphicFramePr>
          <p:cNvPr id="3" name="Diagram 2">
            <a:extLst>
              <a:ext uri="{FF2B5EF4-FFF2-40B4-BE49-F238E27FC236}">
                <a16:creationId xmlns:a16="http://schemas.microsoft.com/office/drawing/2014/main" id="{6EDF83CD-1503-FC4E-BFDE-4E9A34FD3E5C}"/>
              </a:ext>
            </a:extLst>
          </p:cNvPr>
          <p:cNvGraphicFramePr/>
          <p:nvPr/>
        </p:nvGraphicFramePr>
        <p:xfrm>
          <a:off x="134485" y="1056546"/>
          <a:ext cx="1192276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3" name="Picture 42">
            <a:extLst>
              <a:ext uri="{FF2B5EF4-FFF2-40B4-BE49-F238E27FC236}">
                <a16:creationId xmlns:a16="http://schemas.microsoft.com/office/drawing/2014/main" id="{3F2F1F6B-B56F-7445-96D5-7CA250A9D91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4485" y="5680511"/>
            <a:ext cx="1807718" cy="354523"/>
          </a:xfrm>
          <a:prstGeom prst="rect">
            <a:avLst/>
          </a:prstGeom>
        </p:spPr>
      </p:pic>
      <p:pic>
        <p:nvPicPr>
          <p:cNvPr id="45" name="Picture 44">
            <a:extLst>
              <a:ext uri="{FF2B5EF4-FFF2-40B4-BE49-F238E27FC236}">
                <a16:creationId xmlns:a16="http://schemas.microsoft.com/office/drawing/2014/main" id="{EB20666E-235D-CE42-A7ED-8203E887D2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36132" y="5680512"/>
            <a:ext cx="1810512" cy="352117"/>
          </a:xfrm>
          <a:prstGeom prst="rect">
            <a:avLst/>
          </a:prstGeom>
        </p:spPr>
      </p:pic>
      <p:pic>
        <p:nvPicPr>
          <p:cNvPr id="47" name="Picture 46">
            <a:extLst>
              <a:ext uri="{FF2B5EF4-FFF2-40B4-BE49-F238E27FC236}">
                <a16:creationId xmlns:a16="http://schemas.microsoft.com/office/drawing/2014/main" id="{4CF2D465-579B-4043-9669-5D0990C63E0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86990" y="5657981"/>
            <a:ext cx="1810512" cy="680910"/>
          </a:xfrm>
          <a:prstGeom prst="rect">
            <a:avLst/>
          </a:prstGeom>
        </p:spPr>
      </p:pic>
      <p:pic>
        <p:nvPicPr>
          <p:cNvPr id="49" name="Picture 48">
            <a:extLst>
              <a:ext uri="{FF2B5EF4-FFF2-40B4-BE49-F238E27FC236}">
                <a16:creationId xmlns:a16="http://schemas.microsoft.com/office/drawing/2014/main" id="{FAA9EF34-0F0D-464B-B326-74FC339C7BC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88637" y="5699817"/>
            <a:ext cx="1810512" cy="320781"/>
          </a:xfrm>
          <a:prstGeom prst="rect">
            <a:avLst/>
          </a:prstGeom>
        </p:spPr>
      </p:pic>
      <p:pic>
        <p:nvPicPr>
          <p:cNvPr id="51" name="Picture 50">
            <a:extLst>
              <a:ext uri="{FF2B5EF4-FFF2-40B4-BE49-F238E27FC236}">
                <a16:creationId xmlns:a16="http://schemas.microsoft.com/office/drawing/2014/main" id="{4B0F2228-5F31-284A-931A-BA6B0C94813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42289" y="5699817"/>
            <a:ext cx="1810512" cy="529046"/>
          </a:xfrm>
          <a:prstGeom prst="rect">
            <a:avLst/>
          </a:prstGeom>
        </p:spPr>
      </p:pic>
      <p:pic>
        <p:nvPicPr>
          <p:cNvPr id="53" name="Picture 52">
            <a:extLst>
              <a:ext uri="{FF2B5EF4-FFF2-40B4-BE49-F238E27FC236}">
                <a16:creationId xmlns:a16="http://schemas.microsoft.com/office/drawing/2014/main" id="{73F23F0E-0F0A-7044-880E-707D24CB344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267066" y="5664856"/>
            <a:ext cx="1810512" cy="598967"/>
          </a:xfrm>
          <a:prstGeom prst="rect">
            <a:avLst/>
          </a:prstGeom>
        </p:spPr>
      </p:pic>
      <p:sp>
        <p:nvSpPr>
          <p:cNvPr id="54" name="TextBox 53">
            <a:extLst>
              <a:ext uri="{FF2B5EF4-FFF2-40B4-BE49-F238E27FC236}">
                <a16:creationId xmlns:a16="http://schemas.microsoft.com/office/drawing/2014/main" id="{A5B0CE7A-0B71-8447-94BD-5CA73F7D613A}"/>
              </a:ext>
            </a:extLst>
          </p:cNvPr>
          <p:cNvSpPr txBox="1"/>
          <p:nvPr/>
        </p:nvSpPr>
        <p:spPr>
          <a:xfrm>
            <a:off x="134484" y="1162424"/>
            <a:ext cx="11922761"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b="0" i="1"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reate JSON configuration file that will contain the following application settings</a:t>
            </a:r>
          </a:p>
        </p:txBody>
      </p:sp>
    </p:spTree>
    <p:extLst>
      <p:ext uri="{BB962C8B-B14F-4D97-AF65-F5344CB8AC3E}">
        <p14:creationId xmlns:p14="http://schemas.microsoft.com/office/powerpoint/2010/main" val="46791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en-US" dirty="0">
                <a:ea typeface="+mj-lt"/>
                <a:cs typeface="+mj-lt"/>
              </a:rPr>
              <a:t>MVP - Solution Development and Deployment</a:t>
            </a:r>
            <a:endParaRPr lang="en-US" dirty="0"/>
          </a:p>
        </p:txBody>
      </p:sp>
      <p:sp>
        <p:nvSpPr>
          <p:cNvPr id="2" name="Content Placeholder 1">
            <a:extLst>
              <a:ext uri="{FF2B5EF4-FFF2-40B4-BE49-F238E27FC236}">
                <a16:creationId xmlns:a16="http://schemas.microsoft.com/office/drawing/2014/main" id="{09190140-E24E-44AE-867C-458234A6E02B}"/>
              </a:ext>
            </a:extLst>
          </p:cNvPr>
          <p:cNvSpPr>
            <a:spLocks noGrp="1"/>
          </p:cNvSpPr>
          <p:nvPr>
            <p:ph sz="quarter" idx="13"/>
          </p:nvPr>
        </p:nvSpPr>
        <p:spPr/>
        <p:txBody>
          <a:bodyPr vert="horz" lIns="91440" tIns="45720" rIns="91440" bIns="45720" rtlCol="0" anchor="t">
            <a:normAutofit/>
          </a:bodyPr>
          <a:lstStyle/>
          <a:p>
            <a:r>
              <a:rPr lang="en-US" dirty="0"/>
              <a:t>Group exercise – breaking down an MVP</a:t>
            </a:r>
          </a:p>
          <a:p>
            <a:r>
              <a:rPr lang="en-US" dirty="0">
                <a:cs typeface="Calibri"/>
              </a:rPr>
              <a:t>Individual lab – completing code for the group MVP</a:t>
            </a:r>
          </a:p>
          <a:p>
            <a:endParaRPr lang="en-US" dirty="0"/>
          </a:p>
          <a:p>
            <a:endParaRPr lang="en-US" dirty="0">
              <a:cs typeface="Calibri"/>
            </a:endParaRPr>
          </a:p>
          <a:p>
            <a:pPr marL="0" indent="0">
              <a:buNone/>
            </a:pPr>
            <a:endParaRPr lang="en-US" dirty="0">
              <a:cs typeface="Calibri"/>
            </a:endParaRPr>
          </a:p>
        </p:txBody>
      </p:sp>
    </p:spTree>
    <p:extLst>
      <p:ext uri="{BB962C8B-B14F-4D97-AF65-F5344CB8AC3E}">
        <p14:creationId xmlns:p14="http://schemas.microsoft.com/office/powerpoint/2010/main" val="33171168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TEMPLATE">
  <a:themeElements>
    <a:clrScheme name="Custom 4">
      <a:dk1>
        <a:srgbClr val="505050"/>
      </a:dk1>
      <a:lt1>
        <a:srgbClr val="FFFFFF"/>
      </a:lt1>
      <a:dk2>
        <a:srgbClr val="00188F"/>
      </a:dk2>
      <a:lt2>
        <a:srgbClr val="9BD2FF"/>
      </a:lt2>
      <a:accent1>
        <a:srgbClr val="00188F"/>
      </a:accent1>
      <a:accent2>
        <a:srgbClr val="0078D7"/>
      </a:accent2>
      <a:accent3>
        <a:srgbClr val="D83B01"/>
      </a:accent3>
      <a:accent4>
        <a:srgbClr val="5C2D91"/>
      </a:accent4>
      <a:accent5>
        <a:srgbClr val="B4009E"/>
      </a:accent5>
      <a:accent6>
        <a:srgbClr val="107C10"/>
      </a:accent6>
      <a:hlink>
        <a:srgbClr val="9BD2FF"/>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Edu_Consumer_MID-BLUE_1.potx" id="{5934182C-5E91-4AA0-AC54-8FABA87FDE33}" vid="{A438645E-38DE-470C-AF49-BEF4F95CC5B2}"/>
    </a:ext>
  </a:extLst>
</a:theme>
</file>

<file path=ppt/theme/theme3.xml><?xml version="1.0" encoding="utf-8"?>
<a:theme xmlns:a="http://schemas.openxmlformats.org/drawingml/2006/main" name="5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5.xml><?xml version="1.0" encoding="utf-8"?>
<a:theme xmlns:a="http://schemas.openxmlformats.org/drawingml/2006/main" name="Blockchain Kick off Deck">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ockchain Kick off Deck" id="{F8F02839-ACAC-4469-B678-B9EB0C38BD7B}" vid="{E9387C65-1163-41F5-A5D1-FF9A8F89E92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E4CC7CFD672E4594F342DF17B16BB1" ma:contentTypeVersion="11" ma:contentTypeDescription="Create a new document." ma:contentTypeScope="" ma:versionID="5cf9ebc3cb12783a730ff2c294a7ed6c">
  <xsd:schema xmlns:xsd="http://www.w3.org/2001/XMLSchema" xmlns:xs="http://www.w3.org/2001/XMLSchema" xmlns:p="http://schemas.microsoft.com/office/2006/metadata/properties" xmlns:ns1="http://schemas.microsoft.com/sharepoint/v3" xmlns:ns2="8790cc91-cd7a-4533-afc7-c2848ef63f43" xmlns:ns3="2afd8951-537f-457c-87ef-e52b379b21fc" targetNamespace="http://schemas.microsoft.com/office/2006/metadata/properties" ma:root="true" ma:fieldsID="4fb614636116752c63b7cc25c62e43c2" ns1:_="" ns2:_="" ns3:_="">
    <xsd:import namespace="http://schemas.microsoft.com/sharepoint/v3"/>
    <xsd:import namespace="8790cc91-cd7a-4533-afc7-c2848ef63f43"/>
    <xsd:import namespace="2afd8951-537f-457c-87ef-e52b379b21fc"/>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AutoTag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90cc91-cd7a-4533-afc7-c2848ef63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afd8951-537f-457c-87ef-e52b379b21fc"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2afd8951-537f-457c-87ef-e52b379b21fc"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3E60B98-7170-45FB-A99C-34A0E99ED6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790cc91-cd7a-4533-afc7-c2848ef63f43"/>
    <ds:schemaRef ds:uri="2afd8951-537f-457c-87ef-e52b379b21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6A8D2E-EBB0-463A-B6B9-330F48D73656}">
  <ds:schemaRefs>
    <ds:schemaRef ds:uri="http://schemas.microsoft.com/sharepoint/v3/contenttype/forms"/>
  </ds:schemaRefs>
</ds:datastoreItem>
</file>

<file path=customXml/itemProps3.xml><?xml version="1.0" encoding="utf-8"?>
<ds:datastoreItem xmlns:ds="http://schemas.openxmlformats.org/officeDocument/2006/customXml" ds:itemID="{0C616F65-8BF7-43AE-B556-F00EB0BFC78E}">
  <ds:schemaRefs>
    <ds:schemaRef ds:uri="http://schemas.microsoft.com/office/2006/metadata/properties"/>
    <ds:schemaRef ds:uri="http://schemas.microsoft.com/office/infopath/2007/PartnerControls"/>
    <ds:schemaRef ds:uri="http://schemas.microsoft.com/sharepoint/v3"/>
    <ds:schemaRef ds:uri="2afd8951-537f-457c-87ef-e52b379b21fc"/>
  </ds:schemaRefs>
</ds:datastoreItem>
</file>

<file path=docProps/app.xml><?xml version="1.0" encoding="utf-8"?>
<Properties xmlns="http://schemas.openxmlformats.org/officeDocument/2006/extended-properties" xmlns:vt="http://schemas.openxmlformats.org/officeDocument/2006/docPropsVTypes">
  <TotalTime>0</TotalTime>
  <Words>1905</Words>
  <Application>Microsoft Office PowerPoint</Application>
  <PresentationFormat>Widescreen</PresentationFormat>
  <Paragraphs>214</Paragraphs>
  <Slides>15</Slides>
  <Notes>14</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31" baseType="lpstr">
      <vt:lpstr>Arial</vt:lpstr>
      <vt:lpstr>Calibri</vt:lpstr>
      <vt:lpstr>Calibri Light</vt:lpstr>
      <vt:lpstr>Consolas</vt:lpstr>
      <vt:lpstr>Segoe Pro Light</vt:lpstr>
      <vt:lpstr>Segoe UI</vt:lpstr>
      <vt:lpstr>Segoe UI Light</vt:lpstr>
      <vt:lpstr>Segoe UI Semibold</vt:lpstr>
      <vt:lpstr>Segoe UI Semilight</vt:lpstr>
      <vt:lpstr>Wingdings</vt:lpstr>
      <vt:lpstr>Office Theme</vt:lpstr>
      <vt:lpstr>3_WHITE TEMPLATE</vt:lpstr>
      <vt:lpstr>5_5-50109_Microsoft_Light_Template</vt:lpstr>
      <vt:lpstr>5-50109_Microsoft_Light_Template</vt:lpstr>
      <vt:lpstr>Blockchain Kick off Deck</vt:lpstr>
      <vt:lpstr>think-cell Slide</vt:lpstr>
      <vt:lpstr>Building a Blockchain App - Process Flow</vt:lpstr>
      <vt:lpstr>Create your application story </vt:lpstr>
      <vt:lpstr>Define your application roles</vt:lpstr>
      <vt:lpstr>Enumerate all of your smart contract states</vt:lpstr>
      <vt:lpstr>Draft the workflow details as a state transition design</vt:lpstr>
      <vt:lpstr>Specify data as parameters relative to roles and functions </vt:lpstr>
      <vt:lpstr>Prepare to write your workflow details as a Solidity Smart Contract</vt:lpstr>
      <vt:lpstr>Prepare your Workbench JSON application configuration file</vt:lpstr>
      <vt:lpstr>PowerPoint Presentation</vt:lpstr>
      <vt:lpstr>Basic Provenance - MVP</vt:lpstr>
      <vt:lpstr>MVP application roles</vt:lpstr>
      <vt:lpstr>Enumerate all of your smart contract states</vt:lpstr>
      <vt:lpstr>MVP functions and parameters</vt:lpstr>
      <vt:lpstr>Prepare to write your workflow details as a Solidity Smart Contract</vt:lpstr>
      <vt:lpstr>Prepare your Workbench JSON application configuration fi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 Blockchin App in  Day</dc:title>
  <dc:creator/>
  <cp:lastModifiedBy/>
  <cp:revision>324</cp:revision>
  <dcterms:modified xsi:type="dcterms:W3CDTF">2020-09-18T18:5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Ids_UIVersion_9728">
    <vt:lpwstr>57</vt:lpwstr>
  </property>
  <property fmtid="{D5CDD505-2E9C-101B-9397-08002B2CF9AE}" pid="3" name="ContentTypeId">
    <vt:lpwstr>0x010100DEE4CC7CFD672E4594F342DF17B16BB1</vt:lpwstr>
  </property>
</Properties>
</file>